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25"/>
  </p:notesMasterIdLst>
  <p:sldIdLst>
    <p:sldId id="256" r:id="rId3"/>
    <p:sldId id="257" r:id="rId4"/>
    <p:sldId id="260" r:id="rId5"/>
    <p:sldId id="278" r:id="rId6"/>
    <p:sldId id="289" r:id="rId7"/>
    <p:sldId id="291" r:id="rId8"/>
    <p:sldId id="280" r:id="rId9"/>
    <p:sldId id="277" r:id="rId10"/>
    <p:sldId id="276" r:id="rId11"/>
    <p:sldId id="281" r:id="rId12"/>
    <p:sldId id="282" r:id="rId13"/>
    <p:sldId id="284" r:id="rId14"/>
    <p:sldId id="283" r:id="rId15"/>
    <p:sldId id="303" r:id="rId16"/>
    <p:sldId id="298" r:id="rId17"/>
    <p:sldId id="299" r:id="rId18"/>
    <p:sldId id="300" r:id="rId19"/>
    <p:sldId id="304" r:id="rId20"/>
    <p:sldId id="305" r:id="rId21"/>
    <p:sldId id="306" r:id="rId22"/>
    <p:sldId id="302" r:id="rId23"/>
    <p:sldId id="307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528" userDrawn="1">
          <p15:clr>
            <a:srgbClr val="A4A3A4"/>
          </p15:clr>
        </p15:guide>
        <p15:guide id="4" orient="horz" pos="3696" userDrawn="1">
          <p15:clr>
            <a:srgbClr val="A4A3A4"/>
          </p15:clr>
        </p15:guide>
        <p15:guide id="5" pos="34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2F528F"/>
    <a:srgbClr val="23439A"/>
    <a:srgbClr val="D95F02"/>
    <a:srgbClr val="1B9E77"/>
    <a:srgbClr val="BA0020"/>
    <a:srgbClr val="C9D6EE"/>
    <a:srgbClr val="141227"/>
    <a:srgbClr val="9646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511FFD-DD97-3848-80C1-32918EAC4232}" v="5914" dt="2022-12-01T08:19:56.466"/>
    <p1510:client id="{B70BA807-D274-444D-A7AF-A116FBD82083}" v="2706" dt="2022-12-01T08:23:17.6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216" y="44"/>
      </p:cViewPr>
      <p:guideLst>
        <p:guide orient="horz" pos="336"/>
        <p:guide pos="3840"/>
        <p:guide pos="528"/>
        <p:guide orient="horz" pos="3696"/>
        <p:guide pos="345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nedikt Ströbl" userId="9f261c9f-df3c-4609-b41b-280d6b85a3b8" providerId="ADAL" clId="{B70BA807-D274-444D-A7AF-A116FBD82083}"/>
    <pc:docChg chg="undo redo custSel addSld delSld modSld sldOrd modMainMaster modShowInfo">
      <pc:chgData name="Benedikt Ströbl" userId="9f261c9f-df3c-4609-b41b-280d6b85a3b8" providerId="ADAL" clId="{B70BA807-D274-444D-A7AF-A116FBD82083}" dt="2022-12-01T08:23:17.690" v="12298" actId="27636"/>
      <pc:docMkLst>
        <pc:docMk/>
      </pc:docMkLst>
      <pc:sldChg chg="addSp modSp mod modTransition">
        <pc:chgData name="Benedikt Ströbl" userId="9f261c9f-df3c-4609-b41b-280d6b85a3b8" providerId="ADAL" clId="{B70BA807-D274-444D-A7AF-A116FBD82083}" dt="2022-12-01T08:20:52.906" v="12207"/>
        <pc:sldMkLst>
          <pc:docMk/>
          <pc:sldMk cId="539506102" sldId="256"/>
        </pc:sldMkLst>
        <pc:spChg chg="mod">
          <ac:chgData name="Benedikt Ströbl" userId="9f261c9f-df3c-4609-b41b-280d6b85a3b8" providerId="ADAL" clId="{B70BA807-D274-444D-A7AF-A116FBD82083}" dt="2022-11-30T07:54:37.842" v="569" actId="403"/>
          <ac:spMkLst>
            <pc:docMk/>
            <pc:sldMk cId="539506102" sldId="256"/>
            <ac:spMk id="2" creationId="{8F0969EA-368B-4972-AA69-C96B68FE0629}"/>
          </ac:spMkLst>
        </pc:spChg>
        <pc:spChg chg="mod">
          <ac:chgData name="Benedikt Ströbl" userId="9f261c9f-df3c-4609-b41b-280d6b85a3b8" providerId="ADAL" clId="{B70BA807-D274-444D-A7AF-A116FBD82083}" dt="2022-11-30T07:56:40.918" v="791" actId="1036"/>
          <ac:spMkLst>
            <pc:docMk/>
            <pc:sldMk cId="539506102" sldId="256"/>
            <ac:spMk id="3" creationId="{478FE892-FBEB-4B98-8790-A0AF0FF99205}"/>
          </ac:spMkLst>
        </pc:spChg>
        <pc:spChg chg="add mod">
          <ac:chgData name="Benedikt Ströbl" userId="9f261c9f-df3c-4609-b41b-280d6b85a3b8" providerId="ADAL" clId="{B70BA807-D274-444D-A7AF-A116FBD82083}" dt="2022-11-30T07:56:40.918" v="791" actId="1036"/>
          <ac:spMkLst>
            <pc:docMk/>
            <pc:sldMk cId="539506102" sldId="256"/>
            <ac:spMk id="4" creationId="{2BEF55EE-6783-FBC8-93A0-7653943AA66E}"/>
          </ac:spMkLst>
        </pc:spChg>
        <pc:spChg chg="add mod">
          <ac:chgData name="Benedikt Ströbl" userId="9f261c9f-df3c-4609-b41b-280d6b85a3b8" providerId="ADAL" clId="{B70BA807-D274-444D-A7AF-A116FBD82083}" dt="2022-11-30T07:58:18.367" v="850" actId="1036"/>
          <ac:spMkLst>
            <pc:docMk/>
            <pc:sldMk cId="539506102" sldId="256"/>
            <ac:spMk id="5" creationId="{85066B4A-C0F9-115E-BA18-1B7FEB819D83}"/>
          </ac:spMkLst>
        </pc:spChg>
        <pc:spChg chg="mod">
          <ac:chgData name="Benedikt Ströbl" userId="9f261c9f-df3c-4609-b41b-280d6b85a3b8" providerId="ADAL" clId="{B70BA807-D274-444D-A7AF-A116FBD82083}" dt="2022-11-30T07:58:18.367" v="850" actId="1036"/>
          <ac:spMkLst>
            <pc:docMk/>
            <pc:sldMk cId="539506102" sldId="256"/>
            <ac:spMk id="6" creationId="{16593DFF-E113-4ED0-B98D-D51AB5D36A05}"/>
          </ac:spMkLst>
        </pc:spChg>
        <pc:spChg chg="mod">
          <ac:chgData name="Benedikt Ströbl" userId="9f261c9f-df3c-4609-b41b-280d6b85a3b8" providerId="ADAL" clId="{B70BA807-D274-444D-A7AF-A116FBD82083}" dt="2022-11-30T07:58:18.367" v="850" actId="1036"/>
          <ac:spMkLst>
            <pc:docMk/>
            <pc:sldMk cId="539506102" sldId="256"/>
            <ac:spMk id="7" creationId="{C556D786-B57E-4361-84FF-5C5731201256}"/>
          </ac:spMkLst>
        </pc:spChg>
        <pc:spChg chg="mod">
          <ac:chgData name="Benedikt Ströbl" userId="9f261c9f-df3c-4609-b41b-280d6b85a3b8" providerId="ADAL" clId="{B70BA807-D274-444D-A7AF-A116FBD82083}" dt="2022-12-01T08:16:17.648" v="12200" actId="20577"/>
          <ac:spMkLst>
            <pc:docMk/>
            <pc:sldMk cId="539506102" sldId="256"/>
            <ac:spMk id="8" creationId="{C5D1CC17-1A9E-44D9-8502-65604240A4C6}"/>
          </ac:spMkLst>
        </pc:spChg>
      </pc:sldChg>
      <pc:sldChg chg="addSp delSp modSp mod modTransition modAnim">
        <pc:chgData name="Benedikt Ströbl" userId="9f261c9f-df3c-4609-b41b-280d6b85a3b8" providerId="ADAL" clId="{B70BA807-D274-444D-A7AF-A116FBD82083}" dt="2022-12-01T08:22:20.816" v="12256" actId="20577"/>
        <pc:sldMkLst>
          <pc:docMk/>
          <pc:sldMk cId="575140733" sldId="257"/>
        </pc:sldMkLst>
        <pc:spChg chg="mod">
          <ac:chgData name="Benedikt Ströbl" userId="9f261c9f-df3c-4609-b41b-280d6b85a3b8" providerId="ADAL" clId="{B70BA807-D274-444D-A7AF-A116FBD82083}" dt="2022-11-30T08:31:52.361" v="1854" actId="20577"/>
          <ac:spMkLst>
            <pc:docMk/>
            <pc:sldMk cId="575140733" sldId="257"/>
            <ac:spMk id="2" creationId="{91958196-E9F6-4665-B7A5-739B36D9A4F1}"/>
          </ac:spMkLst>
        </pc:spChg>
        <pc:spChg chg="add del mod">
          <ac:chgData name="Benedikt Ströbl" userId="9f261c9f-df3c-4609-b41b-280d6b85a3b8" providerId="ADAL" clId="{B70BA807-D274-444D-A7AF-A116FBD82083}" dt="2022-11-30T08:20:20.739" v="1135" actId="478"/>
          <ac:spMkLst>
            <pc:docMk/>
            <pc:sldMk cId="575140733" sldId="257"/>
            <ac:spMk id="8" creationId="{01A8675E-7B20-02BC-678C-2FD368077AEA}"/>
          </ac:spMkLst>
        </pc:spChg>
        <pc:spChg chg="add del mod">
          <ac:chgData name="Benedikt Ströbl" userId="9f261c9f-df3c-4609-b41b-280d6b85a3b8" providerId="ADAL" clId="{B70BA807-D274-444D-A7AF-A116FBD82083}" dt="2022-11-30T08:22:56.899" v="1141" actId="478"/>
          <ac:spMkLst>
            <pc:docMk/>
            <pc:sldMk cId="575140733" sldId="257"/>
            <ac:spMk id="10" creationId="{F88C3069-F595-B1A9-97B8-16C3929F458A}"/>
          </ac:spMkLst>
        </pc:spChg>
        <pc:spChg chg="del mod">
          <ac:chgData name="Benedikt Ströbl" userId="9f261c9f-df3c-4609-b41b-280d6b85a3b8" providerId="ADAL" clId="{B70BA807-D274-444D-A7AF-A116FBD82083}" dt="2022-11-30T08:20:30.135" v="1136" actId="478"/>
          <ac:spMkLst>
            <pc:docMk/>
            <pc:sldMk cId="575140733" sldId="257"/>
            <ac:spMk id="12" creationId="{D2A4284F-243E-455A-9804-85753EBCB9A2}"/>
          </ac:spMkLst>
        </pc:spChg>
        <pc:spChg chg="del mod">
          <ac:chgData name="Benedikt Ströbl" userId="9f261c9f-df3c-4609-b41b-280d6b85a3b8" providerId="ADAL" clId="{B70BA807-D274-444D-A7AF-A116FBD82083}" dt="2022-11-30T08:20:30.135" v="1136" actId="478"/>
          <ac:spMkLst>
            <pc:docMk/>
            <pc:sldMk cId="575140733" sldId="257"/>
            <ac:spMk id="13" creationId="{669C1AF3-62CE-42A3-9FB8-E2D164974838}"/>
          </ac:spMkLst>
        </pc:spChg>
        <pc:spChg chg="del mod">
          <ac:chgData name="Benedikt Ströbl" userId="9f261c9f-df3c-4609-b41b-280d6b85a3b8" providerId="ADAL" clId="{B70BA807-D274-444D-A7AF-A116FBD82083}" dt="2022-11-30T08:20:30.135" v="1136" actId="478"/>
          <ac:spMkLst>
            <pc:docMk/>
            <pc:sldMk cId="575140733" sldId="257"/>
            <ac:spMk id="14" creationId="{EB352619-FF25-476B-A6BB-223AD74D7E97}"/>
          </ac:spMkLst>
        </pc:spChg>
        <pc:spChg chg="del mod">
          <ac:chgData name="Benedikt Ströbl" userId="9f261c9f-df3c-4609-b41b-280d6b85a3b8" providerId="ADAL" clId="{B70BA807-D274-444D-A7AF-A116FBD82083}" dt="2022-11-30T08:20:30.135" v="1136" actId="478"/>
          <ac:spMkLst>
            <pc:docMk/>
            <pc:sldMk cId="575140733" sldId="257"/>
            <ac:spMk id="15" creationId="{AA495FFD-0166-4CEB-8F9C-D739337B3819}"/>
          </ac:spMkLst>
        </pc:spChg>
        <pc:spChg chg="del mod">
          <ac:chgData name="Benedikt Ströbl" userId="9f261c9f-df3c-4609-b41b-280d6b85a3b8" providerId="ADAL" clId="{B70BA807-D274-444D-A7AF-A116FBD82083}" dt="2022-11-30T08:20:30.135" v="1136" actId="478"/>
          <ac:spMkLst>
            <pc:docMk/>
            <pc:sldMk cId="575140733" sldId="257"/>
            <ac:spMk id="16" creationId="{0DCA1957-9BA9-4772-81A9-96A81977E5FB}"/>
          </ac:spMkLst>
        </pc:spChg>
        <pc:spChg chg="del mod">
          <ac:chgData name="Benedikt Ströbl" userId="9f261c9f-df3c-4609-b41b-280d6b85a3b8" providerId="ADAL" clId="{B70BA807-D274-444D-A7AF-A116FBD82083}" dt="2022-11-30T08:22:59.899" v="1142" actId="478"/>
          <ac:spMkLst>
            <pc:docMk/>
            <pc:sldMk cId="575140733" sldId="257"/>
            <ac:spMk id="17" creationId="{B0119780-3CDF-4E61-804A-559FFEB7AEED}"/>
          </ac:spMkLst>
        </pc:spChg>
        <pc:spChg chg="del mod">
          <ac:chgData name="Benedikt Ströbl" userId="9f261c9f-df3c-4609-b41b-280d6b85a3b8" providerId="ADAL" clId="{B70BA807-D274-444D-A7AF-A116FBD82083}" dt="2022-11-30T08:22:59.899" v="1142" actId="478"/>
          <ac:spMkLst>
            <pc:docMk/>
            <pc:sldMk cId="575140733" sldId="257"/>
            <ac:spMk id="18" creationId="{CBA139DA-BEA8-42F4-B63D-A67AC49F1190}"/>
          </ac:spMkLst>
        </pc:spChg>
        <pc:spChg chg="add mod">
          <ac:chgData name="Benedikt Ströbl" userId="9f261c9f-df3c-4609-b41b-280d6b85a3b8" providerId="ADAL" clId="{B70BA807-D274-444D-A7AF-A116FBD82083}" dt="2022-11-30T08:30:45.853" v="1760" actId="20577"/>
          <ac:spMkLst>
            <pc:docMk/>
            <pc:sldMk cId="575140733" sldId="257"/>
            <ac:spMk id="19" creationId="{769582F9-DA42-992A-981C-14163DB67986}"/>
          </ac:spMkLst>
        </pc:spChg>
        <pc:spChg chg="add mod">
          <ac:chgData name="Benedikt Ströbl" userId="9f261c9f-df3c-4609-b41b-280d6b85a3b8" providerId="ADAL" clId="{B70BA807-D274-444D-A7AF-A116FBD82083}" dt="2022-11-30T08:28:14.534" v="1710" actId="207"/>
          <ac:spMkLst>
            <pc:docMk/>
            <pc:sldMk cId="575140733" sldId="257"/>
            <ac:spMk id="20" creationId="{FF9A447F-983E-9A51-446D-5344039A0F61}"/>
          </ac:spMkLst>
        </pc:spChg>
        <pc:spChg chg="del mod">
          <ac:chgData name="Benedikt Ströbl" userId="9f261c9f-df3c-4609-b41b-280d6b85a3b8" providerId="ADAL" clId="{B70BA807-D274-444D-A7AF-A116FBD82083}" dt="2022-11-30T08:38:22.096" v="2121" actId="478"/>
          <ac:spMkLst>
            <pc:docMk/>
            <pc:sldMk cId="575140733" sldId="257"/>
            <ac:spMk id="24" creationId="{818E74E3-864D-1D46-D9BF-FB0DD3EB6762}"/>
          </ac:spMkLst>
        </pc:spChg>
        <pc:spChg chg="mod">
          <ac:chgData name="Benedikt Ströbl" userId="9f261c9f-df3c-4609-b41b-280d6b85a3b8" providerId="ADAL" clId="{B70BA807-D274-444D-A7AF-A116FBD82083}" dt="2022-11-30T16:20:43.436" v="12082"/>
          <ac:spMkLst>
            <pc:docMk/>
            <pc:sldMk cId="575140733" sldId="257"/>
            <ac:spMk id="27" creationId="{17DE384F-6A40-D1D5-87C3-DA9C058D5F64}"/>
          </ac:spMkLst>
        </pc:spChg>
        <pc:spChg chg="mod">
          <ac:chgData name="Benedikt Ströbl" userId="9f261c9f-df3c-4609-b41b-280d6b85a3b8" providerId="ADAL" clId="{B70BA807-D274-444D-A7AF-A116FBD82083}" dt="2022-11-30T08:38:08.698" v="2120" actId="207"/>
          <ac:spMkLst>
            <pc:docMk/>
            <pc:sldMk cId="575140733" sldId="257"/>
            <ac:spMk id="28" creationId="{C2939626-9617-ECD1-4DC4-5EFF211F6B94}"/>
          </ac:spMkLst>
        </pc:spChg>
        <pc:spChg chg="del mod">
          <ac:chgData name="Benedikt Ströbl" userId="9f261c9f-df3c-4609-b41b-280d6b85a3b8" providerId="ADAL" clId="{B70BA807-D274-444D-A7AF-A116FBD82083}" dt="2022-11-30T08:40:30.839" v="2153" actId="478"/>
          <ac:spMkLst>
            <pc:docMk/>
            <pc:sldMk cId="575140733" sldId="257"/>
            <ac:spMk id="33" creationId="{CC756E16-A49B-54FA-EC38-1700BBC731F1}"/>
          </ac:spMkLst>
        </pc:spChg>
        <pc:spChg chg="mod">
          <ac:chgData name="Benedikt Ströbl" userId="9f261c9f-df3c-4609-b41b-280d6b85a3b8" providerId="ADAL" clId="{B70BA807-D274-444D-A7AF-A116FBD82083}" dt="2022-11-30T08:55:00.587" v="3267" actId="1035"/>
          <ac:spMkLst>
            <pc:docMk/>
            <pc:sldMk cId="575140733" sldId="257"/>
            <ac:spMk id="36" creationId="{1E2B2093-A6FD-C122-BFE0-972667DECF6A}"/>
          </ac:spMkLst>
        </pc:spChg>
        <pc:spChg chg="mod">
          <ac:chgData name="Benedikt Ströbl" userId="9f261c9f-df3c-4609-b41b-280d6b85a3b8" providerId="ADAL" clId="{B70BA807-D274-444D-A7AF-A116FBD82083}" dt="2022-11-30T08:47:40.215" v="2638" actId="113"/>
          <ac:spMkLst>
            <pc:docMk/>
            <pc:sldMk cId="575140733" sldId="257"/>
            <ac:spMk id="37" creationId="{84BD8C95-0B85-29D1-27F5-5BB72125113D}"/>
          </ac:spMkLst>
        </pc:spChg>
        <pc:spChg chg="del mod">
          <ac:chgData name="Benedikt Ströbl" userId="9f261c9f-df3c-4609-b41b-280d6b85a3b8" providerId="ADAL" clId="{B70BA807-D274-444D-A7AF-A116FBD82083}" dt="2022-11-30T08:40:34.901" v="2154" actId="478"/>
          <ac:spMkLst>
            <pc:docMk/>
            <pc:sldMk cId="575140733" sldId="257"/>
            <ac:spMk id="42" creationId="{27B03539-C8AD-630A-AF1B-43B69163B340}"/>
          </ac:spMkLst>
        </pc:spChg>
        <pc:spChg chg="mod">
          <ac:chgData name="Benedikt Ströbl" userId="9f261c9f-df3c-4609-b41b-280d6b85a3b8" providerId="ADAL" clId="{B70BA807-D274-444D-A7AF-A116FBD82083}" dt="2022-11-30T16:20:40.585" v="12081" actId="21"/>
          <ac:spMkLst>
            <pc:docMk/>
            <pc:sldMk cId="575140733" sldId="257"/>
            <ac:spMk id="45" creationId="{CC6CD735-07E5-5D04-7DD9-9351DDF80FCC}"/>
          </ac:spMkLst>
        </pc:spChg>
        <pc:spChg chg="mod">
          <ac:chgData name="Benedikt Ströbl" userId="9f261c9f-df3c-4609-b41b-280d6b85a3b8" providerId="ADAL" clId="{B70BA807-D274-444D-A7AF-A116FBD82083}" dt="2022-11-30T08:58:47.543" v="3313" actId="207"/>
          <ac:spMkLst>
            <pc:docMk/>
            <pc:sldMk cId="575140733" sldId="257"/>
            <ac:spMk id="46" creationId="{8B8A78CB-F8BD-1B0A-FD01-3EA766C28490}"/>
          </ac:spMkLst>
        </pc:spChg>
        <pc:spChg chg="add mod">
          <ac:chgData name="Benedikt Ströbl" userId="9f261c9f-df3c-4609-b41b-280d6b85a3b8" providerId="ADAL" clId="{B70BA807-D274-444D-A7AF-A116FBD82083}" dt="2022-11-30T09:03:07.926" v="3460" actId="1076"/>
          <ac:spMkLst>
            <pc:docMk/>
            <pc:sldMk cId="575140733" sldId="257"/>
            <ac:spMk id="55" creationId="{9E9A5BEC-EF8E-8AFC-AF94-B1D987A84745}"/>
          </ac:spMkLst>
        </pc:spChg>
        <pc:spChg chg="add mod">
          <ac:chgData name="Benedikt Ströbl" userId="9f261c9f-df3c-4609-b41b-280d6b85a3b8" providerId="ADAL" clId="{B70BA807-D274-444D-A7AF-A116FBD82083}" dt="2022-11-30T09:04:06.862" v="3502" actId="1037"/>
          <ac:spMkLst>
            <pc:docMk/>
            <pc:sldMk cId="575140733" sldId="257"/>
            <ac:spMk id="60" creationId="{F57A411F-B3C8-4EA3-7417-5D77B030B314}"/>
          </ac:spMkLst>
        </pc:spChg>
        <pc:spChg chg="add mod">
          <ac:chgData name="Benedikt Ströbl" userId="9f261c9f-df3c-4609-b41b-280d6b85a3b8" providerId="ADAL" clId="{B70BA807-D274-444D-A7AF-A116FBD82083}" dt="2022-12-01T08:22:20.816" v="12256" actId="20577"/>
          <ac:spMkLst>
            <pc:docMk/>
            <pc:sldMk cId="575140733" sldId="257"/>
            <ac:spMk id="61" creationId="{ADD4B7F2-0792-E936-0E06-6705D9B02C40}"/>
          </ac:spMkLst>
        </pc:spChg>
        <pc:spChg chg="add mod">
          <ac:chgData name="Benedikt Ströbl" userId="9f261c9f-df3c-4609-b41b-280d6b85a3b8" providerId="ADAL" clId="{B70BA807-D274-444D-A7AF-A116FBD82083}" dt="2022-12-01T08:21:44.732" v="12236" actId="20577"/>
          <ac:spMkLst>
            <pc:docMk/>
            <pc:sldMk cId="575140733" sldId="257"/>
            <ac:spMk id="62" creationId="{55038EF6-0AEA-223E-0E38-AF648C3D519C}"/>
          </ac:spMkLst>
        </pc:spChg>
        <pc:grpChg chg="add mod">
          <ac:chgData name="Benedikt Ströbl" userId="9f261c9f-df3c-4609-b41b-280d6b85a3b8" providerId="ADAL" clId="{B70BA807-D274-444D-A7AF-A116FBD82083}" dt="2022-11-30T08:40:48.155" v="2159" actId="1035"/>
          <ac:grpSpMkLst>
            <pc:docMk/>
            <pc:sldMk cId="575140733" sldId="257"/>
            <ac:grpSpMk id="23" creationId="{65CD0455-2309-E4F8-354D-8265FB656F0D}"/>
          </ac:grpSpMkLst>
        </pc:grpChg>
        <pc:grpChg chg="del mod">
          <ac:chgData name="Benedikt Ströbl" userId="9f261c9f-df3c-4609-b41b-280d6b85a3b8" providerId="ADAL" clId="{B70BA807-D274-444D-A7AF-A116FBD82083}" dt="2022-11-30T08:28:40.230" v="1711" actId="478"/>
          <ac:grpSpMkLst>
            <pc:docMk/>
            <pc:sldMk cId="575140733" sldId="257"/>
            <ac:grpSpMk id="25" creationId="{71DD19CC-BCAD-8B5A-6BB4-668C629DBA87}"/>
          </ac:grpSpMkLst>
        </pc:grpChg>
        <pc:grpChg chg="del mod">
          <ac:chgData name="Benedikt Ströbl" userId="9f261c9f-df3c-4609-b41b-280d6b85a3b8" providerId="ADAL" clId="{B70BA807-D274-444D-A7AF-A116FBD82083}" dt="2022-11-30T08:40:19.828" v="2151" actId="478"/>
          <ac:grpSpMkLst>
            <pc:docMk/>
            <pc:sldMk cId="575140733" sldId="257"/>
            <ac:grpSpMk id="26" creationId="{D83E8EF6-6BEA-49B3-6036-15F7E493D58A}"/>
          </ac:grpSpMkLst>
        </pc:grpChg>
        <pc:grpChg chg="add mod">
          <ac:chgData name="Benedikt Ströbl" userId="9f261c9f-df3c-4609-b41b-280d6b85a3b8" providerId="ADAL" clId="{B70BA807-D274-444D-A7AF-A116FBD82083}" dt="2022-11-30T08:45:45.902" v="2443" actId="1035"/>
          <ac:grpSpMkLst>
            <pc:docMk/>
            <pc:sldMk cId="575140733" sldId="257"/>
            <ac:grpSpMk id="32" creationId="{35FD0256-9EE4-95A9-710F-CC3E84F7B11D}"/>
          </ac:grpSpMkLst>
        </pc:grpChg>
        <pc:grpChg chg="del mod">
          <ac:chgData name="Benedikt Ströbl" userId="9f261c9f-df3c-4609-b41b-280d6b85a3b8" providerId="ADAL" clId="{B70BA807-D274-444D-A7AF-A116FBD82083}" dt="2022-11-30T08:40:30.839" v="2153" actId="478"/>
          <ac:grpSpMkLst>
            <pc:docMk/>
            <pc:sldMk cId="575140733" sldId="257"/>
            <ac:grpSpMk id="34" creationId="{5137BB00-01A2-666D-B9EA-55984F0BC1B9}"/>
          </ac:grpSpMkLst>
        </pc:grpChg>
        <pc:grpChg chg="del mod">
          <ac:chgData name="Benedikt Ströbl" userId="9f261c9f-df3c-4609-b41b-280d6b85a3b8" providerId="ADAL" clId="{B70BA807-D274-444D-A7AF-A116FBD82083}" dt="2022-11-30T08:30:59.645" v="1763" actId="478"/>
          <ac:grpSpMkLst>
            <pc:docMk/>
            <pc:sldMk cId="575140733" sldId="257"/>
            <ac:grpSpMk id="35" creationId="{ED279A55-078C-F87D-CD02-276B6BB8CD91}"/>
          </ac:grpSpMkLst>
        </pc:grpChg>
        <pc:grpChg chg="add mod">
          <ac:chgData name="Benedikt Ströbl" userId="9f261c9f-df3c-4609-b41b-280d6b85a3b8" providerId="ADAL" clId="{B70BA807-D274-444D-A7AF-A116FBD82083}" dt="2022-11-30T08:53:04.549" v="3236" actId="1035"/>
          <ac:grpSpMkLst>
            <pc:docMk/>
            <pc:sldMk cId="575140733" sldId="257"/>
            <ac:grpSpMk id="41" creationId="{DC9D3E09-FF6E-DCA3-4DE1-08D5F4C81EF0}"/>
          </ac:grpSpMkLst>
        </pc:grpChg>
        <pc:grpChg chg="del mod">
          <ac:chgData name="Benedikt Ströbl" userId="9f261c9f-df3c-4609-b41b-280d6b85a3b8" providerId="ADAL" clId="{B70BA807-D274-444D-A7AF-A116FBD82083}" dt="2022-11-30T08:40:34.901" v="2154" actId="478"/>
          <ac:grpSpMkLst>
            <pc:docMk/>
            <pc:sldMk cId="575140733" sldId="257"/>
            <ac:grpSpMk id="43" creationId="{CB933734-2E7A-BFC3-2BE1-72A121CF0E49}"/>
          </ac:grpSpMkLst>
        </pc:grpChg>
        <pc:grpChg chg="del mod">
          <ac:chgData name="Benedikt Ströbl" userId="9f261c9f-df3c-4609-b41b-280d6b85a3b8" providerId="ADAL" clId="{B70BA807-D274-444D-A7AF-A116FBD82083}" dt="2022-11-30T08:31:03.290" v="1764" actId="478"/>
          <ac:grpSpMkLst>
            <pc:docMk/>
            <pc:sldMk cId="575140733" sldId="257"/>
            <ac:grpSpMk id="44" creationId="{9338FB91-4D91-CD5D-0CCA-397053A3D16D}"/>
          </ac:grpSpMkLst>
        </pc:grpChg>
        <pc:picChg chg="del mod">
          <ac:chgData name="Benedikt Ströbl" userId="9f261c9f-df3c-4609-b41b-280d6b85a3b8" providerId="ADAL" clId="{B70BA807-D274-444D-A7AF-A116FBD82083}" dt="2022-11-30T08:20:30.135" v="1136" actId="478"/>
          <ac:picMkLst>
            <pc:docMk/>
            <pc:sldMk cId="575140733" sldId="257"/>
            <ac:picMk id="4" creationId="{54B0E8D0-C793-41C7-B06E-AC481E78AC81}"/>
          </ac:picMkLst>
        </pc:picChg>
        <pc:picChg chg="del mod">
          <ac:chgData name="Benedikt Ströbl" userId="9f261c9f-df3c-4609-b41b-280d6b85a3b8" providerId="ADAL" clId="{B70BA807-D274-444D-A7AF-A116FBD82083}" dt="2022-11-30T08:20:17.778" v="1134" actId="478"/>
          <ac:picMkLst>
            <pc:docMk/>
            <pc:sldMk cId="575140733" sldId="257"/>
            <ac:picMk id="5" creationId="{083AD061-8614-4F2E-B24D-EBEF106D755D}"/>
          </ac:picMkLst>
        </pc:picChg>
        <pc:picChg chg="del mod">
          <ac:chgData name="Benedikt Ströbl" userId="9f261c9f-df3c-4609-b41b-280d6b85a3b8" providerId="ADAL" clId="{B70BA807-D274-444D-A7AF-A116FBD82083}" dt="2022-11-30T08:20:30.135" v="1136" actId="478"/>
          <ac:picMkLst>
            <pc:docMk/>
            <pc:sldMk cId="575140733" sldId="257"/>
            <ac:picMk id="7" creationId="{489BE675-556D-46FC-B762-1364493A3A4B}"/>
          </ac:picMkLst>
        </pc:picChg>
        <pc:picChg chg="del mod">
          <ac:chgData name="Benedikt Ströbl" userId="9f261c9f-df3c-4609-b41b-280d6b85a3b8" providerId="ADAL" clId="{B70BA807-D274-444D-A7AF-A116FBD82083}" dt="2022-11-30T08:20:30.135" v="1136" actId="478"/>
          <ac:picMkLst>
            <pc:docMk/>
            <pc:sldMk cId="575140733" sldId="257"/>
            <ac:picMk id="9" creationId="{42E8DF99-B0F2-48EC-9C18-2CE97394E3D3}"/>
          </ac:picMkLst>
        </pc:picChg>
        <pc:picChg chg="del mod">
          <ac:chgData name="Benedikt Ströbl" userId="9f261c9f-df3c-4609-b41b-280d6b85a3b8" providerId="ADAL" clId="{B70BA807-D274-444D-A7AF-A116FBD82083}" dt="2022-11-30T08:20:30.135" v="1136" actId="478"/>
          <ac:picMkLst>
            <pc:docMk/>
            <pc:sldMk cId="575140733" sldId="257"/>
            <ac:picMk id="11" creationId="{71FF6B1B-5AAA-4BE2-BF60-7B0DFEE0D4AB}"/>
          </ac:picMkLst>
        </pc:picChg>
        <pc:picChg chg="del mod">
          <ac:chgData name="Benedikt Ströbl" userId="9f261c9f-df3c-4609-b41b-280d6b85a3b8" providerId="ADAL" clId="{B70BA807-D274-444D-A7AF-A116FBD82083}" dt="2022-11-30T08:40:19.828" v="2151" actId="478"/>
          <ac:picMkLst>
            <pc:docMk/>
            <pc:sldMk cId="575140733" sldId="257"/>
            <ac:picMk id="29" creationId="{3E3835C5-D663-299F-A157-D47A112F63FA}"/>
          </ac:picMkLst>
        </pc:picChg>
        <pc:picChg chg="del mod">
          <ac:chgData name="Benedikt Ströbl" userId="9f261c9f-df3c-4609-b41b-280d6b85a3b8" providerId="ADAL" clId="{B70BA807-D274-444D-A7AF-A116FBD82083}" dt="2022-11-30T08:28:43.033" v="1712" actId="478"/>
          <ac:picMkLst>
            <pc:docMk/>
            <pc:sldMk cId="575140733" sldId="257"/>
            <ac:picMk id="30" creationId="{644CAFD5-1B68-8E09-94A9-76A9DCBF70D3}"/>
          </ac:picMkLst>
        </pc:picChg>
        <pc:picChg chg="del mod">
          <ac:chgData name="Benedikt Ströbl" userId="9f261c9f-df3c-4609-b41b-280d6b85a3b8" providerId="ADAL" clId="{B70BA807-D274-444D-A7AF-A116FBD82083}" dt="2022-11-30T08:28:40.230" v="1711" actId="478"/>
          <ac:picMkLst>
            <pc:docMk/>
            <pc:sldMk cId="575140733" sldId="257"/>
            <ac:picMk id="31" creationId="{4598406D-D7BF-84B4-E2C1-149809A78CBD}"/>
          </ac:picMkLst>
        </pc:picChg>
        <pc:picChg chg="del mod">
          <ac:chgData name="Benedikt Ströbl" userId="9f261c9f-df3c-4609-b41b-280d6b85a3b8" providerId="ADAL" clId="{B70BA807-D274-444D-A7AF-A116FBD82083}" dt="2022-11-30T08:30:59.645" v="1763" actId="478"/>
          <ac:picMkLst>
            <pc:docMk/>
            <pc:sldMk cId="575140733" sldId="257"/>
            <ac:picMk id="38" creationId="{6A87AB55-F8FA-3AED-1379-D83D4AA5887A}"/>
          </ac:picMkLst>
        </pc:picChg>
        <pc:picChg chg="del mod">
          <ac:chgData name="Benedikt Ströbl" userId="9f261c9f-df3c-4609-b41b-280d6b85a3b8" providerId="ADAL" clId="{B70BA807-D274-444D-A7AF-A116FBD82083}" dt="2022-11-30T08:40:30.839" v="2153" actId="478"/>
          <ac:picMkLst>
            <pc:docMk/>
            <pc:sldMk cId="575140733" sldId="257"/>
            <ac:picMk id="39" creationId="{42E58E23-8270-78AA-F322-F3CA21A28E36}"/>
          </ac:picMkLst>
        </pc:picChg>
        <pc:picChg chg="del mod">
          <ac:chgData name="Benedikt Ströbl" userId="9f261c9f-df3c-4609-b41b-280d6b85a3b8" providerId="ADAL" clId="{B70BA807-D274-444D-A7AF-A116FBD82083}" dt="2022-11-30T08:40:30.839" v="2153" actId="478"/>
          <ac:picMkLst>
            <pc:docMk/>
            <pc:sldMk cId="575140733" sldId="257"/>
            <ac:picMk id="40" creationId="{FC88600B-C0A5-1A22-252D-2F2AB82F896B}"/>
          </ac:picMkLst>
        </pc:picChg>
        <pc:picChg chg="del mod">
          <ac:chgData name="Benedikt Ströbl" userId="9f261c9f-df3c-4609-b41b-280d6b85a3b8" providerId="ADAL" clId="{B70BA807-D274-444D-A7AF-A116FBD82083}" dt="2022-11-30T08:31:03.290" v="1764" actId="478"/>
          <ac:picMkLst>
            <pc:docMk/>
            <pc:sldMk cId="575140733" sldId="257"/>
            <ac:picMk id="47" creationId="{BA0359A0-897E-F1B2-304E-55FE24F4182E}"/>
          </ac:picMkLst>
        </pc:picChg>
        <pc:picChg chg="del mod">
          <ac:chgData name="Benedikt Ströbl" userId="9f261c9f-df3c-4609-b41b-280d6b85a3b8" providerId="ADAL" clId="{B70BA807-D274-444D-A7AF-A116FBD82083}" dt="2022-11-30T08:40:34.901" v="2154" actId="478"/>
          <ac:picMkLst>
            <pc:docMk/>
            <pc:sldMk cId="575140733" sldId="257"/>
            <ac:picMk id="48" creationId="{1C009490-A6EA-CE2F-39EB-0EA84928D664}"/>
          </ac:picMkLst>
        </pc:picChg>
        <pc:picChg chg="del mod">
          <ac:chgData name="Benedikt Ströbl" userId="9f261c9f-df3c-4609-b41b-280d6b85a3b8" providerId="ADAL" clId="{B70BA807-D274-444D-A7AF-A116FBD82083}" dt="2022-11-30T08:40:34.901" v="2154" actId="478"/>
          <ac:picMkLst>
            <pc:docMk/>
            <pc:sldMk cId="575140733" sldId="257"/>
            <ac:picMk id="49" creationId="{6729DB9C-88C9-77ED-31EB-4BC81F23833F}"/>
          </ac:picMkLst>
        </pc:picChg>
        <pc:picChg chg="add mod">
          <ac:chgData name="Benedikt Ströbl" userId="9f261c9f-df3c-4609-b41b-280d6b85a3b8" providerId="ADAL" clId="{B70BA807-D274-444D-A7AF-A116FBD82083}" dt="2022-11-30T08:53:04.549" v="3236" actId="1035"/>
          <ac:picMkLst>
            <pc:docMk/>
            <pc:sldMk cId="575140733" sldId="257"/>
            <ac:picMk id="50" creationId="{67A55EEE-7535-5030-2006-01EC13216208}"/>
          </ac:picMkLst>
        </pc:picChg>
        <pc:picChg chg="add mod modCrop">
          <ac:chgData name="Benedikt Ströbl" userId="9f261c9f-df3c-4609-b41b-280d6b85a3b8" providerId="ADAL" clId="{B70BA807-D274-444D-A7AF-A116FBD82083}" dt="2022-11-30T08:40:23.856" v="2152" actId="1076"/>
          <ac:picMkLst>
            <pc:docMk/>
            <pc:sldMk cId="575140733" sldId="257"/>
            <ac:picMk id="52" creationId="{A04306B6-9E31-BE15-8C39-1B4964DBC902}"/>
          </ac:picMkLst>
        </pc:picChg>
        <pc:picChg chg="add mod modCrop">
          <ac:chgData name="Benedikt Ströbl" userId="9f261c9f-df3c-4609-b41b-280d6b85a3b8" providerId="ADAL" clId="{B70BA807-D274-444D-A7AF-A116FBD82083}" dt="2022-11-30T08:48:52.748" v="2650" actId="1076"/>
          <ac:picMkLst>
            <pc:docMk/>
            <pc:sldMk cId="575140733" sldId="257"/>
            <ac:picMk id="54" creationId="{8B17027E-0252-071F-2676-1B38CF70C46E}"/>
          </ac:picMkLst>
        </pc:picChg>
        <pc:picChg chg="add mod">
          <ac:chgData name="Benedikt Ströbl" userId="9f261c9f-df3c-4609-b41b-280d6b85a3b8" providerId="ADAL" clId="{B70BA807-D274-444D-A7AF-A116FBD82083}" dt="2022-11-30T09:03:07.926" v="3460" actId="1076"/>
          <ac:picMkLst>
            <pc:docMk/>
            <pc:sldMk cId="575140733" sldId="257"/>
            <ac:picMk id="56" creationId="{DA25EC07-23AB-65DD-8112-794DE4BC0B68}"/>
          </ac:picMkLst>
        </pc:picChg>
        <pc:cxnChg chg="add mod">
          <ac:chgData name="Benedikt Ströbl" userId="9f261c9f-df3c-4609-b41b-280d6b85a3b8" providerId="ADAL" clId="{B70BA807-D274-444D-A7AF-A116FBD82083}" dt="2022-11-30T08:24:14.822" v="1321" actId="1035"/>
          <ac:cxnSpMkLst>
            <pc:docMk/>
            <pc:sldMk cId="575140733" sldId="257"/>
            <ac:cxnSpMk id="21" creationId="{AE33350E-E474-C9D8-E556-CE181FED83E0}"/>
          </ac:cxnSpMkLst>
        </pc:cxnChg>
        <pc:cxnChg chg="add mod">
          <ac:chgData name="Benedikt Ströbl" userId="9f261c9f-df3c-4609-b41b-280d6b85a3b8" providerId="ADAL" clId="{B70BA807-D274-444D-A7AF-A116FBD82083}" dt="2022-11-30T08:23:11.297" v="1166" actId="2711"/>
          <ac:cxnSpMkLst>
            <pc:docMk/>
            <pc:sldMk cId="575140733" sldId="257"/>
            <ac:cxnSpMk id="22" creationId="{23A8C8CE-AE3C-FCB8-97FC-CF6DDABB767F}"/>
          </ac:cxnSpMkLst>
        </pc:cxnChg>
        <pc:cxnChg chg="add mod">
          <ac:chgData name="Benedikt Ströbl" userId="9f261c9f-df3c-4609-b41b-280d6b85a3b8" providerId="ADAL" clId="{B70BA807-D274-444D-A7AF-A116FBD82083}" dt="2022-11-30T09:04:17.496" v="3530" actId="1036"/>
          <ac:cxnSpMkLst>
            <pc:docMk/>
            <pc:sldMk cId="575140733" sldId="257"/>
            <ac:cxnSpMk id="57" creationId="{50702244-C17A-D614-045F-F2BEC4616E45}"/>
          </ac:cxnSpMkLst>
        </pc:cxnChg>
        <pc:cxnChg chg="add mod">
          <ac:chgData name="Benedikt Ströbl" userId="9f261c9f-df3c-4609-b41b-280d6b85a3b8" providerId="ADAL" clId="{B70BA807-D274-444D-A7AF-A116FBD82083}" dt="2022-11-30T09:04:13.658" v="3523" actId="1035"/>
          <ac:cxnSpMkLst>
            <pc:docMk/>
            <pc:sldMk cId="575140733" sldId="257"/>
            <ac:cxnSpMk id="58" creationId="{6548A9B1-4CD4-0761-1D07-339BD11F72FF}"/>
          </ac:cxnSpMkLst>
        </pc:cxnChg>
        <pc:cxnChg chg="add mod">
          <ac:chgData name="Benedikt Ströbl" userId="9f261c9f-df3c-4609-b41b-280d6b85a3b8" providerId="ADAL" clId="{B70BA807-D274-444D-A7AF-A116FBD82083}" dt="2022-11-30T09:04:00.577" v="3493" actId="1036"/>
          <ac:cxnSpMkLst>
            <pc:docMk/>
            <pc:sldMk cId="575140733" sldId="257"/>
            <ac:cxnSpMk id="59" creationId="{7C8FB831-14F9-022D-6DE2-72F553AEC3D2}"/>
          </ac:cxnSpMkLst>
        </pc:cxnChg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792283502" sldId="258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449626655" sldId="259"/>
        </pc:sldMkLst>
      </pc:sldChg>
      <pc:sldChg chg="addSp delSp modSp mod modTransition">
        <pc:chgData name="Benedikt Ströbl" userId="9f261c9f-df3c-4609-b41b-280d6b85a3b8" providerId="ADAL" clId="{B70BA807-D274-444D-A7AF-A116FBD82083}" dt="2022-12-01T08:20:50.364" v="12206"/>
        <pc:sldMkLst>
          <pc:docMk/>
          <pc:sldMk cId="3856482971" sldId="260"/>
        </pc:sldMkLst>
        <pc:spChg chg="mod">
          <ac:chgData name="Benedikt Ströbl" userId="9f261c9f-df3c-4609-b41b-280d6b85a3b8" providerId="ADAL" clId="{B70BA807-D274-444D-A7AF-A116FBD82083}" dt="2022-11-30T09:08:37.613" v="3688" actId="20577"/>
          <ac:spMkLst>
            <pc:docMk/>
            <pc:sldMk cId="3856482971" sldId="260"/>
            <ac:spMk id="2" creationId="{4093C56F-C21A-430F-8AE3-3690E0480EF0}"/>
          </ac:spMkLst>
        </pc:spChg>
        <pc:spChg chg="mod">
          <ac:chgData name="Benedikt Ströbl" userId="9f261c9f-df3c-4609-b41b-280d6b85a3b8" providerId="ADAL" clId="{B70BA807-D274-444D-A7AF-A116FBD82083}" dt="2022-11-30T09:08:53.227" v="3704" actId="20577"/>
          <ac:spMkLst>
            <pc:docMk/>
            <pc:sldMk cId="3856482971" sldId="260"/>
            <ac:spMk id="8" creationId="{E77A6D09-B582-49C0-B333-86C6617DE061}"/>
          </ac:spMkLst>
        </pc:spChg>
        <pc:spChg chg="mod">
          <ac:chgData name="Benedikt Ströbl" userId="9f261c9f-df3c-4609-b41b-280d6b85a3b8" providerId="ADAL" clId="{B70BA807-D274-444D-A7AF-A116FBD82083}" dt="2022-11-30T09:10:26.942" v="3847" actId="20577"/>
          <ac:spMkLst>
            <pc:docMk/>
            <pc:sldMk cId="3856482971" sldId="260"/>
            <ac:spMk id="9" creationId="{68767BFD-E714-4207-A0FE-2143B7409410}"/>
          </ac:spMkLst>
        </pc:spChg>
        <pc:spChg chg="mod">
          <ac:chgData name="Benedikt Ströbl" userId="9f261c9f-df3c-4609-b41b-280d6b85a3b8" providerId="ADAL" clId="{B70BA807-D274-444D-A7AF-A116FBD82083}" dt="2022-11-30T09:11:14.555" v="3937" actId="20577"/>
          <ac:spMkLst>
            <pc:docMk/>
            <pc:sldMk cId="3856482971" sldId="260"/>
            <ac:spMk id="10" creationId="{0514D82E-290C-44A2-B527-EE8F7FB8A539}"/>
          </ac:spMkLst>
        </pc:spChg>
        <pc:spChg chg="add del mod">
          <ac:chgData name="Benedikt Ströbl" userId="9f261c9f-df3c-4609-b41b-280d6b85a3b8" providerId="ADAL" clId="{B70BA807-D274-444D-A7AF-A116FBD82083}" dt="2022-11-30T09:47:08.724" v="4130" actId="478"/>
          <ac:spMkLst>
            <pc:docMk/>
            <pc:sldMk cId="3856482971" sldId="260"/>
            <ac:spMk id="13" creationId="{B60D890A-F718-12E8-C761-90ECE584DD28}"/>
          </ac:spMkLst>
        </pc:spChg>
        <pc:spChg chg="add del mod">
          <ac:chgData name="Benedikt Ströbl" userId="9f261c9f-df3c-4609-b41b-280d6b85a3b8" providerId="ADAL" clId="{B70BA807-D274-444D-A7AF-A116FBD82083}" dt="2022-11-30T09:47:37.697" v="4135" actId="478"/>
          <ac:spMkLst>
            <pc:docMk/>
            <pc:sldMk cId="3856482971" sldId="260"/>
            <ac:spMk id="15" creationId="{F5B02AB8-915F-F3D7-9FB2-920DD2467596}"/>
          </ac:spMkLst>
        </pc:spChg>
        <pc:spChg chg="add mod">
          <ac:chgData name="Benedikt Ströbl" userId="9f261c9f-df3c-4609-b41b-280d6b85a3b8" providerId="ADAL" clId="{B70BA807-D274-444D-A7AF-A116FBD82083}" dt="2022-11-30T09:52:16.127" v="4307" actId="164"/>
          <ac:spMkLst>
            <pc:docMk/>
            <pc:sldMk cId="3856482971" sldId="260"/>
            <ac:spMk id="17" creationId="{D7BD9843-5BEC-0DAB-2BB2-013DBDABCC33}"/>
          </ac:spMkLst>
        </pc:spChg>
        <pc:spChg chg="add mod">
          <ac:chgData name="Benedikt Ströbl" userId="9f261c9f-df3c-4609-b41b-280d6b85a3b8" providerId="ADAL" clId="{B70BA807-D274-444D-A7AF-A116FBD82083}" dt="2022-11-30T09:52:16.127" v="4307" actId="164"/>
          <ac:spMkLst>
            <pc:docMk/>
            <pc:sldMk cId="3856482971" sldId="260"/>
            <ac:spMk id="19" creationId="{31A31F59-F83D-E425-30D2-D8564ECB1D66}"/>
          </ac:spMkLst>
        </pc:spChg>
        <pc:spChg chg="add mod">
          <ac:chgData name="Benedikt Ströbl" userId="9f261c9f-df3c-4609-b41b-280d6b85a3b8" providerId="ADAL" clId="{B70BA807-D274-444D-A7AF-A116FBD82083}" dt="2022-11-30T09:52:16.127" v="4307" actId="164"/>
          <ac:spMkLst>
            <pc:docMk/>
            <pc:sldMk cId="3856482971" sldId="260"/>
            <ac:spMk id="21" creationId="{604680D1-3F3B-F16E-E14A-901208FDD18C}"/>
          </ac:spMkLst>
        </pc:spChg>
        <pc:spChg chg="add mod">
          <ac:chgData name="Benedikt Ströbl" userId="9f261c9f-df3c-4609-b41b-280d6b85a3b8" providerId="ADAL" clId="{B70BA807-D274-444D-A7AF-A116FBD82083}" dt="2022-11-30T09:52:16.127" v="4307" actId="164"/>
          <ac:spMkLst>
            <pc:docMk/>
            <pc:sldMk cId="3856482971" sldId="260"/>
            <ac:spMk id="23" creationId="{0C09CAA7-4B22-0BF4-A560-2C8173BEDBB3}"/>
          </ac:spMkLst>
        </pc:spChg>
        <pc:spChg chg="add mod">
          <ac:chgData name="Benedikt Ströbl" userId="9f261c9f-df3c-4609-b41b-280d6b85a3b8" providerId="ADAL" clId="{B70BA807-D274-444D-A7AF-A116FBD82083}" dt="2022-11-30T09:52:16.127" v="4307" actId="164"/>
          <ac:spMkLst>
            <pc:docMk/>
            <pc:sldMk cId="3856482971" sldId="260"/>
            <ac:spMk id="25" creationId="{377C8C7D-D94A-25F8-EADA-31A4463329C1}"/>
          </ac:spMkLst>
        </pc:spChg>
        <pc:spChg chg="add mod">
          <ac:chgData name="Benedikt Ströbl" userId="9f261c9f-df3c-4609-b41b-280d6b85a3b8" providerId="ADAL" clId="{B70BA807-D274-444D-A7AF-A116FBD82083}" dt="2022-11-30T09:52:16.127" v="4307" actId="164"/>
          <ac:spMkLst>
            <pc:docMk/>
            <pc:sldMk cId="3856482971" sldId="260"/>
            <ac:spMk id="27" creationId="{EC1B6F5A-F9DE-A32F-77BE-FCE1CB41654E}"/>
          </ac:spMkLst>
        </pc:spChg>
        <pc:spChg chg="add mod">
          <ac:chgData name="Benedikt Ströbl" userId="9f261c9f-df3c-4609-b41b-280d6b85a3b8" providerId="ADAL" clId="{B70BA807-D274-444D-A7AF-A116FBD82083}" dt="2022-11-30T11:36:47.840" v="8181" actId="20577"/>
          <ac:spMkLst>
            <pc:docMk/>
            <pc:sldMk cId="3856482971" sldId="260"/>
            <ac:spMk id="29" creationId="{66579E08-E14F-69B5-F693-663EFF0B089B}"/>
          </ac:spMkLst>
        </pc:spChg>
        <pc:spChg chg="del">
          <ac:chgData name="Benedikt Ströbl" userId="9f261c9f-df3c-4609-b41b-280d6b85a3b8" providerId="ADAL" clId="{B70BA807-D274-444D-A7AF-A116FBD82083}" dt="2022-11-30T09:41:51.247" v="4115" actId="478"/>
          <ac:spMkLst>
            <pc:docMk/>
            <pc:sldMk cId="3856482971" sldId="260"/>
            <ac:spMk id="30" creationId="{1E9AF409-5345-4AB1-9CAA-609C7917BEB6}"/>
          </ac:spMkLst>
        </pc:spChg>
        <pc:spChg chg="add mod">
          <ac:chgData name="Benedikt Ströbl" userId="9f261c9f-df3c-4609-b41b-280d6b85a3b8" providerId="ADAL" clId="{B70BA807-D274-444D-A7AF-A116FBD82083}" dt="2022-11-30T11:37:03.687" v="8200" actId="1036"/>
          <ac:spMkLst>
            <pc:docMk/>
            <pc:sldMk cId="3856482971" sldId="260"/>
            <ac:spMk id="32" creationId="{9AD4AE4B-4B6E-2FA5-0A1C-0CA3FB71598C}"/>
          </ac:spMkLst>
        </pc:spChg>
        <pc:spChg chg="add mod">
          <ac:chgData name="Benedikt Ströbl" userId="9f261c9f-df3c-4609-b41b-280d6b85a3b8" providerId="ADAL" clId="{B70BA807-D274-444D-A7AF-A116FBD82083}" dt="2022-11-30T11:37:03.687" v="8200" actId="1036"/>
          <ac:spMkLst>
            <pc:docMk/>
            <pc:sldMk cId="3856482971" sldId="260"/>
            <ac:spMk id="34" creationId="{70B30DBB-356F-89C3-3DD1-ADA7AE52C582}"/>
          </ac:spMkLst>
        </pc:spChg>
        <pc:spChg chg="mod">
          <ac:chgData name="Benedikt Ströbl" userId="9f261c9f-df3c-4609-b41b-280d6b85a3b8" providerId="ADAL" clId="{B70BA807-D274-444D-A7AF-A116FBD82083}" dt="2022-11-30T09:12:23.397" v="4098" actId="20577"/>
          <ac:spMkLst>
            <pc:docMk/>
            <pc:sldMk cId="3856482971" sldId="260"/>
            <ac:spMk id="41" creationId="{6EBC18F3-E12A-413D-BC3B-5E466A018375}"/>
          </ac:spMkLst>
        </pc:spChg>
        <pc:spChg chg="mod">
          <ac:chgData name="Benedikt Ströbl" userId="9f261c9f-df3c-4609-b41b-280d6b85a3b8" providerId="ADAL" clId="{B70BA807-D274-444D-A7AF-A116FBD82083}" dt="2022-11-30T10:15:43.709" v="5788" actId="20577"/>
          <ac:spMkLst>
            <pc:docMk/>
            <pc:sldMk cId="3856482971" sldId="260"/>
            <ac:spMk id="43" creationId="{3BF96FF9-7CCC-442B-8A39-988F91EF56A4}"/>
          </ac:spMkLst>
        </pc:spChg>
        <pc:spChg chg="mod">
          <ac:chgData name="Benedikt Ströbl" userId="9f261c9f-df3c-4609-b41b-280d6b85a3b8" providerId="ADAL" clId="{B70BA807-D274-444D-A7AF-A116FBD82083}" dt="2022-11-30T10:54:12.463" v="6855" actId="20577"/>
          <ac:spMkLst>
            <pc:docMk/>
            <pc:sldMk cId="3856482971" sldId="260"/>
            <ac:spMk id="44" creationId="{17BC6A6C-EA69-4D43-AC11-5541702DF016}"/>
          </ac:spMkLst>
        </pc:spChg>
        <pc:spChg chg="add mod">
          <ac:chgData name="Benedikt Ströbl" userId="9f261c9f-df3c-4609-b41b-280d6b85a3b8" providerId="ADAL" clId="{B70BA807-D274-444D-A7AF-A116FBD82083}" dt="2022-11-30T10:15:54.488" v="5798" actId="1035"/>
          <ac:spMkLst>
            <pc:docMk/>
            <pc:sldMk cId="3856482971" sldId="260"/>
            <ac:spMk id="49" creationId="{0680FAB9-0CED-AF7F-5F2D-DA875572E916}"/>
          </ac:spMkLst>
        </pc:spChg>
        <pc:spChg chg="add mod">
          <ac:chgData name="Benedikt Ströbl" userId="9f261c9f-df3c-4609-b41b-280d6b85a3b8" providerId="ADAL" clId="{B70BA807-D274-444D-A7AF-A116FBD82083}" dt="2022-11-30T10:15:54.488" v="5798" actId="1035"/>
          <ac:spMkLst>
            <pc:docMk/>
            <pc:sldMk cId="3856482971" sldId="260"/>
            <ac:spMk id="50" creationId="{DE9409D5-EDF8-1E2F-F54B-AE19921C0806}"/>
          </ac:spMkLst>
        </pc:spChg>
        <pc:spChg chg="add mod">
          <ac:chgData name="Benedikt Ströbl" userId="9f261c9f-df3c-4609-b41b-280d6b85a3b8" providerId="ADAL" clId="{B70BA807-D274-444D-A7AF-A116FBD82083}" dt="2022-11-30T11:02:03.577" v="7130" actId="113"/>
          <ac:spMkLst>
            <pc:docMk/>
            <pc:sldMk cId="3856482971" sldId="260"/>
            <ac:spMk id="51" creationId="{2CF63A10-1ABC-01DA-F326-56E47C626253}"/>
          </ac:spMkLst>
        </pc:spChg>
        <pc:spChg chg="add mod">
          <ac:chgData name="Benedikt Ströbl" userId="9f261c9f-df3c-4609-b41b-280d6b85a3b8" providerId="ADAL" clId="{B70BA807-D274-444D-A7AF-A116FBD82083}" dt="2022-11-30T12:00:49.169" v="9878" actId="1037"/>
          <ac:spMkLst>
            <pc:docMk/>
            <pc:sldMk cId="3856482971" sldId="260"/>
            <ac:spMk id="55" creationId="{7762289D-5CC4-26BC-1394-28C6A5CB19EE}"/>
          </ac:spMkLst>
        </pc:spChg>
        <pc:spChg chg="add del mod">
          <ac:chgData name="Benedikt Ströbl" userId="9f261c9f-df3c-4609-b41b-280d6b85a3b8" providerId="ADAL" clId="{B70BA807-D274-444D-A7AF-A116FBD82083}" dt="2022-11-30T10:30:06.685" v="6071" actId="478"/>
          <ac:spMkLst>
            <pc:docMk/>
            <pc:sldMk cId="3856482971" sldId="260"/>
            <ac:spMk id="56" creationId="{75E0E6F5-496F-010B-3A7C-C9A0D9B03A59}"/>
          </ac:spMkLst>
        </pc:spChg>
        <pc:spChg chg="add del mod">
          <ac:chgData name="Benedikt Ströbl" userId="9f261c9f-df3c-4609-b41b-280d6b85a3b8" providerId="ADAL" clId="{B70BA807-D274-444D-A7AF-A116FBD82083}" dt="2022-11-30T10:30:25.608" v="6077"/>
          <ac:spMkLst>
            <pc:docMk/>
            <pc:sldMk cId="3856482971" sldId="260"/>
            <ac:spMk id="57" creationId="{EB21C085-D0E6-B11A-7CFB-83E6A7539F1B}"/>
          </ac:spMkLst>
        </pc:spChg>
        <pc:spChg chg="add mod">
          <ac:chgData name="Benedikt Ströbl" userId="9f261c9f-df3c-4609-b41b-280d6b85a3b8" providerId="ADAL" clId="{B70BA807-D274-444D-A7AF-A116FBD82083}" dt="2022-11-30T12:01:23.047" v="9879" actId="1076"/>
          <ac:spMkLst>
            <pc:docMk/>
            <pc:sldMk cId="3856482971" sldId="260"/>
            <ac:spMk id="1027" creationId="{6FD9B889-29E2-859D-C0FD-60B31657D5E7}"/>
          </ac:spMkLst>
        </pc:spChg>
        <pc:spChg chg="add mod">
          <ac:chgData name="Benedikt Ströbl" userId="9f261c9f-df3c-4609-b41b-280d6b85a3b8" providerId="ADAL" clId="{B70BA807-D274-444D-A7AF-A116FBD82083}" dt="2022-11-30T12:01:23.047" v="9879" actId="1076"/>
          <ac:spMkLst>
            <pc:docMk/>
            <pc:sldMk cId="3856482971" sldId="260"/>
            <ac:spMk id="1029" creationId="{0C270631-36AE-AF35-3053-691795AF9D3E}"/>
          </ac:spMkLst>
        </pc:spChg>
        <pc:spChg chg="add mod">
          <ac:chgData name="Benedikt Ströbl" userId="9f261c9f-df3c-4609-b41b-280d6b85a3b8" providerId="ADAL" clId="{B70BA807-D274-444D-A7AF-A116FBD82083}" dt="2022-11-30T12:01:23.047" v="9879" actId="1076"/>
          <ac:spMkLst>
            <pc:docMk/>
            <pc:sldMk cId="3856482971" sldId="260"/>
            <ac:spMk id="1033" creationId="{0460A50D-9D9C-8D0A-341A-1AFBF5DD131F}"/>
          </ac:spMkLst>
        </pc:spChg>
        <pc:spChg chg="add del mod">
          <ac:chgData name="Benedikt Ströbl" userId="9f261c9f-df3c-4609-b41b-280d6b85a3b8" providerId="ADAL" clId="{B70BA807-D274-444D-A7AF-A116FBD82083}" dt="2022-11-30T10:42:29.402" v="6301"/>
          <ac:spMkLst>
            <pc:docMk/>
            <pc:sldMk cId="3856482971" sldId="260"/>
            <ac:spMk id="1042" creationId="{7DEDCDAC-6D86-5ADB-F859-EDA186AF97ED}"/>
          </ac:spMkLst>
        </pc:spChg>
        <pc:spChg chg="add del mod">
          <ac:chgData name="Benedikt Ströbl" userId="9f261c9f-df3c-4609-b41b-280d6b85a3b8" providerId="ADAL" clId="{B70BA807-D274-444D-A7AF-A116FBD82083}" dt="2022-11-30T10:42:29.402" v="6301"/>
          <ac:spMkLst>
            <pc:docMk/>
            <pc:sldMk cId="3856482971" sldId="260"/>
            <ac:spMk id="1043" creationId="{25F56CC4-3BAD-3680-CD24-F9AFC17422A4}"/>
          </ac:spMkLst>
        </pc:spChg>
        <pc:spChg chg="add del mod">
          <ac:chgData name="Benedikt Ströbl" userId="9f261c9f-df3c-4609-b41b-280d6b85a3b8" providerId="ADAL" clId="{B70BA807-D274-444D-A7AF-A116FBD82083}" dt="2022-11-30T10:42:29.402" v="6301"/>
          <ac:spMkLst>
            <pc:docMk/>
            <pc:sldMk cId="3856482971" sldId="260"/>
            <ac:spMk id="1045" creationId="{271DEB16-308A-1D88-9BE2-9A6C24417720}"/>
          </ac:spMkLst>
        </pc:spChg>
        <pc:spChg chg="add del mod">
          <ac:chgData name="Benedikt Ströbl" userId="9f261c9f-df3c-4609-b41b-280d6b85a3b8" providerId="ADAL" clId="{B70BA807-D274-444D-A7AF-A116FBD82083}" dt="2022-11-30T10:43:06.974" v="6312" actId="478"/>
          <ac:spMkLst>
            <pc:docMk/>
            <pc:sldMk cId="3856482971" sldId="260"/>
            <ac:spMk id="1047" creationId="{D77990C3-7134-CD1C-2A09-2B0AAB721784}"/>
          </ac:spMkLst>
        </pc:spChg>
        <pc:spChg chg="add del mod">
          <ac:chgData name="Benedikt Ströbl" userId="9f261c9f-df3c-4609-b41b-280d6b85a3b8" providerId="ADAL" clId="{B70BA807-D274-444D-A7AF-A116FBD82083}" dt="2022-11-30T10:49:23.548" v="6531" actId="1035"/>
          <ac:spMkLst>
            <pc:docMk/>
            <pc:sldMk cId="3856482971" sldId="260"/>
            <ac:spMk id="1048" creationId="{29468A30-CEE7-A66B-A879-F9F5ACF105D1}"/>
          </ac:spMkLst>
        </pc:spChg>
        <pc:spChg chg="add mod">
          <ac:chgData name="Benedikt Ströbl" userId="9f261c9f-df3c-4609-b41b-280d6b85a3b8" providerId="ADAL" clId="{B70BA807-D274-444D-A7AF-A116FBD82083}" dt="2022-11-30T10:49:23.548" v="6531" actId="1035"/>
          <ac:spMkLst>
            <pc:docMk/>
            <pc:sldMk cId="3856482971" sldId="260"/>
            <ac:spMk id="1051" creationId="{4F2D42CB-CBD7-2C32-4F8D-B78E4ACD76F2}"/>
          </ac:spMkLst>
        </pc:spChg>
        <pc:spChg chg="add mod">
          <ac:chgData name="Benedikt Ströbl" userId="9f261c9f-df3c-4609-b41b-280d6b85a3b8" providerId="ADAL" clId="{B70BA807-D274-444D-A7AF-A116FBD82083}" dt="2022-11-30T10:49:33.089" v="6533" actId="1076"/>
          <ac:spMkLst>
            <pc:docMk/>
            <pc:sldMk cId="3856482971" sldId="260"/>
            <ac:spMk id="1052" creationId="{81EA7851-4D1E-1E59-5798-00B91B68FDC3}"/>
          </ac:spMkLst>
        </pc:spChg>
        <pc:spChg chg="add del mod">
          <ac:chgData name="Benedikt Ströbl" userId="9f261c9f-df3c-4609-b41b-280d6b85a3b8" providerId="ADAL" clId="{B70BA807-D274-444D-A7AF-A116FBD82083}" dt="2022-11-30T10:49:36.233" v="6535" actId="478"/>
          <ac:spMkLst>
            <pc:docMk/>
            <pc:sldMk cId="3856482971" sldId="260"/>
            <ac:spMk id="1059" creationId="{54F0B132-C64A-DA5D-2C99-6531192BB762}"/>
          </ac:spMkLst>
        </pc:spChg>
        <pc:spChg chg="add del mod">
          <ac:chgData name="Benedikt Ströbl" userId="9f261c9f-df3c-4609-b41b-280d6b85a3b8" providerId="ADAL" clId="{B70BA807-D274-444D-A7AF-A116FBD82083}" dt="2022-11-30T15:26:13.284" v="11911" actId="478"/>
          <ac:spMkLst>
            <pc:docMk/>
            <pc:sldMk cId="3856482971" sldId="260"/>
            <ac:spMk id="1060" creationId="{4D645D5E-9EA0-D0D3-B5BC-5EB0CB9178E3}"/>
          </ac:spMkLst>
        </pc:spChg>
        <pc:spChg chg="add mod">
          <ac:chgData name="Benedikt Ströbl" userId="9f261c9f-df3c-4609-b41b-280d6b85a3b8" providerId="ADAL" clId="{B70BA807-D274-444D-A7AF-A116FBD82083}" dt="2022-11-30T15:26:20.539" v="11914" actId="20577"/>
          <ac:spMkLst>
            <pc:docMk/>
            <pc:sldMk cId="3856482971" sldId="260"/>
            <ac:spMk id="1061" creationId="{8BD8D413-1CC3-716C-2164-F4B69631978B}"/>
          </ac:spMkLst>
        </pc:spChg>
        <pc:spChg chg="add mod">
          <ac:chgData name="Benedikt Ströbl" userId="9f261c9f-df3c-4609-b41b-280d6b85a3b8" providerId="ADAL" clId="{B70BA807-D274-444D-A7AF-A116FBD82083}" dt="2022-11-30T10:51:23.834" v="6718" actId="1076"/>
          <ac:spMkLst>
            <pc:docMk/>
            <pc:sldMk cId="3856482971" sldId="260"/>
            <ac:spMk id="1062" creationId="{960B7374-7B32-90C7-9765-263F115CF927}"/>
          </ac:spMkLst>
        </pc:spChg>
        <pc:grpChg chg="add mod">
          <ac:chgData name="Benedikt Ströbl" userId="9f261c9f-df3c-4609-b41b-280d6b85a3b8" providerId="ADAL" clId="{B70BA807-D274-444D-A7AF-A116FBD82083}" dt="2022-11-30T12:01:23.047" v="9879" actId="1076"/>
          <ac:grpSpMkLst>
            <pc:docMk/>
            <pc:sldMk cId="3856482971" sldId="260"/>
            <ac:grpSpMk id="28" creationId="{F32E9BAF-BC26-843A-A61D-78D750A3FE61}"/>
          </ac:grpSpMkLst>
        </pc:grpChg>
        <pc:picChg chg="add mod">
          <ac:chgData name="Benedikt Ströbl" userId="9f261c9f-df3c-4609-b41b-280d6b85a3b8" providerId="ADAL" clId="{B70BA807-D274-444D-A7AF-A116FBD82083}" dt="2022-11-30T11:37:08.108" v="8203" actId="1036"/>
          <ac:picMkLst>
            <pc:docMk/>
            <pc:sldMk cId="3856482971" sldId="260"/>
            <ac:picMk id="5" creationId="{9743EBAD-CB19-CD55-E750-FBE04129E6D1}"/>
          </ac:picMkLst>
        </pc:picChg>
        <pc:picChg chg="add mod">
          <ac:chgData name="Benedikt Ströbl" userId="9f261c9f-df3c-4609-b41b-280d6b85a3b8" providerId="ADAL" clId="{B70BA807-D274-444D-A7AF-A116FBD82083}" dt="2022-11-30T09:52:16.127" v="4307" actId="164"/>
          <ac:picMkLst>
            <pc:docMk/>
            <pc:sldMk cId="3856482971" sldId="260"/>
            <ac:picMk id="11" creationId="{FFD81F8A-DC8F-2EE6-F3F0-CC43FF07A503}"/>
          </ac:picMkLst>
        </pc:picChg>
        <pc:picChg chg="del">
          <ac:chgData name="Benedikt Ströbl" userId="9f261c9f-df3c-4609-b41b-280d6b85a3b8" providerId="ADAL" clId="{B70BA807-D274-444D-A7AF-A116FBD82083}" dt="2022-11-30T09:13:11.538" v="4099" actId="478"/>
          <ac:picMkLst>
            <pc:docMk/>
            <pc:sldMk cId="3856482971" sldId="260"/>
            <ac:picMk id="12" creationId="{C316FB15-382E-4CEB-8C51-B97ECB8457E0}"/>
          </ac:picMkLst>
        </pc:picChg>
        <pc:picChg chg="del">
          <ac:chgData name="Benedikt Ströbl" userId="9f261c9f-df3c-4609-b41b-280d6b85a3b8" providerId="ADAL" clId="{B70BA807-D274-444D-A7AF-A116FBD82083}" dt="2022-11-30T10:14:20.904" v="5625" actId="478"/>
          <ac:picMkLst>
            <pc:docMk/>
            <pc:sldMk cId="3856482971" sldId="260"/>
            <ac:picMk id="14" creationId="{EB03AE64-9D33-4CCD-8CB9-DA0E2473CB90}"/>
          </ac:picMkLst>
        </pc:picChg>
        <pc:picChg chg="del">
          <ac:chgData name="Benedikt Ströbl" userId="9f261c9f-df3c-4609-b41b-280d6b85a3b8" providerId="ADAL" clId="{B70BA807-D274-444D-A7AF-A116FBD82083}" dt="2022-11-30T09:41:43.367" v="4114" actId="478"/>
          <ac:picMkLst>
            <pc:docMk/>
            <pc:sldMk cId="3856482971" sldId="260"/>
            <ac:picMk id="16" creationId="{DC8DA654-A64F-4667-9BCF-83403C595376}"/>
          </ac:picMkLst>
        </pc:picChg>
        <pc:picChg chg="del">
          <ac:chgData name="Benedikt Ströbl" userId="9f261c9f-df3c-4609-b41b-280d6b85a3b8" providerId="ADAL" clId="{B70BA807-D274-444D-A7AF-A116FBD82083}" dt="2022-11-30T10:14:20.904" v="5625" actId="478"/>
          <ac:picMkLst>
            <pc:docMk/>
            <pc:sldMk cId="3856482971" sldId="260"/>
            <ac:picMk id="18" creationId="{65037AE5-AC65-413D-9CC6-4E5353AEE487}"/>
          </ac:picMkLst>
        </pc:picChg>
        <pc:picChg chg="del">
          <ac:chgData name="Benedikt Ströbl" userId="9f261c9f-df3c-4609-b41b-280d6b85a3b8" providerId="ADAL" clId="{B70BA807-D274-444D-A7AF-A116FBD82083}" dt="2022-11-30T10:14:20.904" v="5625" actId="478"/>
          <ac:picMkLst>
            <pc:docMk/>
            <pc:sldMk cId="3856482971" sldId="260"/>
            <ac:picMk id="20" creationId="{1E001AC2-7E86-4195-95C9-84910B4F71B5}"/>
          </ac:picMkLst>
        </pc:picChg>
        <pc:picChg chg="del">
          <ac:chgData name="Benedikt Ströbl" userId="9f261c9f-df3c-4609-b41b-280d6b85a3b8" providerId="ADAL" clId="{B70BA807-D274-444D-A7AF-A116FBD82083}" dt="2022-11-30T09:13:38.761" v="4113" actId="478"/>
          <ac:picMkLst>
            <pc:docMk/>
            <pc:sldMk cId="3856482971" sldId="260"/>
            <ac:picMk id="22" creationId="{149F615F-24E3-474F-BE29-17EB930C6A83}"/>
          </ac:picMkLst>
        </pc:picChg>
        <pc:picChg chg="del">
          <ac:chgData name="Benedikt Ströbl" userId="9f261c9f-df3c-4609-b41b-280d6b85a3b8" providerId="ADAL" clId="{B70BA807-D274-444D-A7AF-A116FBD82083}" dt="2022-11-30T09:41:43.367" v="4114" actId="478"/>
          <ac:picMkLst>
            <pc:docMk/>
            <pc:sldMk cId="3856482971" sldId="260"/>
            <ac:picMk id="24" creationId="{887F77B3-226D-41AC-96C4-332F756A1B05}"/>
          </ac:picMkLst>
        </pc:picChg>
        <pc:picChg chg="del">
          <ac:chgData name="Benedikt Ströbl" userId="9f261c9f-df3c-4609-b41b-280d6b85a3b8" providerId="ADAL" clId="{B70BA807-D274-444D-A7AF-A116FBD82083}" dt="2022-11-30T09:13:11.538" v="4099" actId="478"/>
          <ac:picMkLst>
            <pc:docMk/>
            <pc:sldMk cId="3856482971" sldId="260"/>
            <ac:picMk id="26" creationId="{F2F0A8A2-56AC-4BD5-BC1B-25ED6F8E52DE}"/>
          </ac:picMkLst>
        </pc:picChg>
        <pc:picChg chg="add mod">
          <ac:chgData name="Benedikt Ströbl" userId="9f261c9f-df3c-4609-b41b-280d6b85a3b8" providerId="ADAL" clId="{B70BA807-D274-444D-A7AF-A116FBD82083}" dt="2022-11-30T12:00:49.169" v="9878" actId="1037"/>
          <ac:picMkLst>
            <pc:docMk/>
            <pc:sldMk cId="3856482971" sldId="260"/>
            <ac:picMk id="37" creationId="{C49EA35D-1E35-09E6-EE22-BB32553E34B6}"/>
          </ac:picMkLst>
        </pc:picChg>
        <pc:picChg chg="add mod">
          <ac:chgData name="Benedikt Ströbl" userId="9f261c9f-df3c-4609-b41b-280d6b85a3b8" providerId="ADAL" clId="{B70BA807-D274-444D-A7AF-A116FBD82083}" dt="2022-11-30T13:53:58.993" v="10644" actId="1076"/>
          <ac:picMkLst>
            <pc:docMk/>
            <pc:sldMk cId="3856482971" sldId="260"/>
            <ac:picMk id="59" creationId="{E4BF8613-0B23-6D23-BE2A-AFC9D93F6079}"/>
          </ac:picMkLst>
        </pc:picChg>
        <pc:picChg chg="add mod">
          <ac:chgData name="Benedikt Ströbl" userId="9f261c9f-df3c-4609-b41b-280d6b85a3b8" providerId="ADAL" clId="{B70BA807-D274-444D-A7AF-A116FBD82083}" dt="2022-11-30T10:15:54.488" v="5798" actId="1035"/>
          <ac:picMkLst>
            <pc:docMk/>
            <pc:sldMk cId="3856482971" sldId="260"/>
            <ac:picMk id="1026" creationId="{AD9DA9F8-6DC6-00D1-AE73-EBFF55D86E74}"/>
          </ac:picMkLst>
        </pc:picChg>
        <pc:picChg chg="add mod">
          <ac:chgData name="Benedikt Ströbl" userId="9f261c9f-df3c-4609-b41b-280d6b85a3b8" providerId="ADAL" clId="{B70BA807-D274-444D-A7AF-A116FBD82083}" dt="2022-11-30T12:00:49.169" v="9878" actId="1037"/>
          <ac:picMkLst>
            <pc:docMk/>
            <pc:sldMk cId="3856482971" sldId="260"/>
            <ac:picMk id="1028" creationId="{0D91AE4E-DA22-4CB5-7D4B-D1C0F9CF88F4}"/>
          </ac:picMkLst>
        </pc:picChg>
        <pc:picChg chg="add del mod">
          <ac:chgData name="Benedikt Ströbl" userId="9f261c9f-df3c-4609-b41b-280d6b85a3b8" providerId="ADAL" clId="{B70BA807-D274-444D-A7AF-A116FBD82083}" dt="2022-11-30T10:34:20.937" v="6080" actId="478"/>
          <ac:picMkLst>
            <pc:docMk/>
            <pc:sldMk cId="3856482971" sldId="260"/>
            <ac:picMk id="1030" creationId="{E1299457-03F3-6610-3AB5-9A43C89FF8A5}"/>
          </ac:picMkLst>
        </pc:picChg>
        <pc:picChg chg="add del mod ord modCrop">
          <ac:chgData name="Benedikt Ströbl" userId="9f261c9f-df3c-4609-b41b-280d6b85a3b8" providerId="ADAL" clId="{B70BA807-D274-444D-A7AF-A116FBD82083}" dt="2022-11-30T10:42:12.414" v="6298" actId="478"/>
          <ac:picMkLst>
            <pc:docMk/>
            <pc:sldMk cId="3856482971" sldId="260"/>
            <ac:picMk id="1035" creationId="{FE94BFB6-BCE0-B142-2EFA-DA7DA2AB3239}"/>
          </ac:picMkLst>
        </pc:picChg>
        <pc:picChg chg="add del mod">
          <ac:chgData name="Benedikt Ströbl" userId="9f261c9f-df3c-4609-b41b-280d6b85a3b8" providerId="ADAL" clId="{B70BA807-D274-444D-A7AF-A116FBD82083}" dt="2022-11-30T10:42:29.402" v="6301"/>
          <ac:picMkLst>
            <pc:docMk/>
            <pc:sldMk cId="3856482971" sldId="260"/>
            <ac:picMk id="1039" creationId="{A3E35A2D-6FBF-067D-68FC-2A0AE1DFB9AC}"/>
          </ac:picMkLst>
        </pc:picChg>
        <pc:picChg chg="add mod">
          <ac:chgData name="Benedikt Ströbl" userId="9f261c9f-df3c-4609-b41b-280d6b85a3b8" providerId="ADAL" clId="{B70BA807-D274-444D-A7AF-A116FBD82083}" dt="2022-11-30T13:54:16.161" v="10645" actId="14826"/>
          <ac:picMkLst>
            <pc:docMk/>
            <pc:sldMk cId="3856482971" sldId="260"/>
            <ac:picMk id="1046" creationId="{5A2DE41A-00B5-6CED-F432-46A9E4D53DB7}"/>
          </ac:picMkLst>
        </pc:picChg>
        <pc:picChg chg="add mod modCrop">
          <ac:chgData name="Benedikt Ströbl" userId="9f261c9f-df3c-4609-b41b-280d6b85a3b8" providerId="ADAL" clId="{B70BA807-D274-444D-A7AF-A116FBD82083}" dt="2022-11-30T10:53:34.529" v="6774" actId="1037"/>
          <ac:picMkLst>
            <pc:docMk/>
            <pc:sldMk cId="3856482971" sldId="260"/>
            <ac:picMk id="1054" creationId="{98EF6E25-42ED-BA27-AE5D-A4A58B80769F}"/>
          </ac:picMkLst>
        </pc:picChg>
        <pc:picChg chg="add mod">
          <ac:chgData name="Benedikt Ströbl" userId="9f261c9f-df3c-4609-b41b-280d6b85a3b8" providerId="ADAL" clId="{B70BA807-D274-444D-A7AF-A116FBD82083}" dt="2022-11-30T10:53:34.529" v="6774" actId="1037"/>
          <ac:picMkLst>
            <pc:docMk/>
            <pc:sldMk cId="3856482971" sldId="260"/>
            <ac:picMk id="1056" creationId="{BD606C81-529C-77FE-7182-FA5D6B6ACE1E}"/>
          </ac:picMkLst>
        </pc:picChg>
        <pc:picChg chg="add mod">
          <ac:chgData name="Benedikt Ströbl" userId="9f261c9f-df3c-4609-b41b-280d6b85a3b8" providerId="ADAL" clId="{B70BA807-D274-444D-A7AF-A116FBD82083}" dt="2022-11-30T10:53:34.529" v="6774" actId="1037"/>
          <ac:picMkLst>
            <pc:docMk/>
            <pc:sldMk cId="3856482971" sldId="260"/>
            <ac:picMk id="1058" creationId="{8707FC7E-68ED-8F0B-E903-DBE7DD292E13}"/>
          </ac:picMkLst>
        </pc:picChg>
        <pc:cxnChg chg="add mod">
          <ac:chgData name="Benedikt Ströbl" userId="9f261c9f-df3c-4609-b41b-280d6b85a3b8" providerId="ADAL" clId="{B70BA807-D274-444D-A7AF-A116FBD82083}" dt="2022-11-30T10:01:09.901" v="4726" actId="1076"/>
          <ac:cxnSpMkLst>
            <pc:docMk/>
            <pc:sldMk cId="3856482971" sldId="260"/>
            <ac:cxnSpMk id="31" creationId="{0158BFD6-06B3-626D-635C-B8F87BC7C313}"/>
          </ac:cxnSpMkLst>
        </pc:cxnChg>
        <pc:cxnChg chg="add mod">
          <ac:chgData name="Benedikt Ströbl" userId="9f261c9f-df3c-4609-b41b-280d6b85a3b8" providerId="ADAL" clId="{B70BA807-D274-444D-A7AF-A116FBD82083}" dt="2022-11-30T11:37:03.687" v="8200" actId="1036"/>
          <ac:cxnSpMkLst>
            <pc:docMk/>
            <pc:sldMk cId="3856482971" sldId="260"/>
            <ac:cxnSpMk id="33" creationId="{9F1A3056-2B73-53D3-4789-B23BC4371022}"/>
          </ac:cxnSpMkLst>
        </pc:cxnChg>
        <pc:cxnChg chg="add mod">
          <ac:chgData name="Benedikt Ströbl" userId="9f261c9f-df3c-4609-b41b-280d6b85a3b8" providerId="ADAL" clId="{B70BA807-D274-444D-A7AF-A116FBD82083}" dt="2022-11-30T11:37:03.687" v="8200" actId="1036"/>
          <ac:cxnSpMkLst>
            <pc:docMk/>
            <pc:sldMk cId="3856482971" sldId="260"/>
            <ac:cxnSpMk id="35" creationId="{E72B67F2-A9A4-7B7A-D2B5-0C9224DD9B49}"/>
          </ac:cxnSpMkLst>
        </pc:cxnChg>
        <pc:cxnChg chg="add mod">
          <ac:chgData name="Benedikt Ströbl" userId="9f261c9f-df3c-4609-b41b-280d6b85a3b8" providerId="ADAL" clId="{B70BA807-D274-444D-A7AF-A116FBD82083}" dt="2022-11-30T10:01:21.758" v="4730" actId="1076"/>
          <ac:cxnSpMkLst>
            <pc:docMk/>
            <pc:sldMk cId="3856482971" sldId="260"/>
            <ac:cxnSpMk id="48" creationId="{E4137540-4465-526A-C317-3ACD8021CE89}"/>
          </ac:cxnSpMkLst>
        </pc:cxnChg>
        <pc:cxnChg chg="add mod">
          <ac:chgData name="Benedikt Ströbl" userId="9f261c9f-df3c-4609-b41b-280d6b85a3b8" providerId="ADAL" clId="{B70BA807-D274-444D-A7AF-A116FBD82083}" dt="2022-11-30T10:15:54.488" v="5798" actId="1035"/>
          <ac:cxnSpMkLst>
            <pc:docMk/>
            <pc:sldMk cId="3856482971" sldId="260"/>
            <ac:cxnSpMk id="52" creationId="{5DEF0402-B773-6E84-5B62-55D82A409279}"/>
          </ac:cxnSpMkLst>
        </pc:cxnChg>
        <pc:cxnChg chg="add mod">
          <ac:chgData name="Benedikt Ströbl" userId="9f261c9f-df3c-4609-b41b-280d6b85a3b8" providerId="ADAL" clId="{B70BA807-D274-444D-A7AF-A116FBD82083}" dt="2022-11-30T12:00:49.169" v="9878" actId="1037"/>
          <ac:cxnSpMkLst>
            <pc:docMk/>
            <pc:sldMk cId="3856482971" sldId="260"/>
            <ac:cxnSpMk id="54" creationId="{87F9BF86-1494-81B1-0F49-5A065BAAB7CD}"/>
          </ac:cxnSpMkLst>
        </pc:cxnChg>
        <pc:cxnChg chg="add mod ord">
          <ac:chgData name="Benedikt Ströbl" userId="9f261c9f-df3c-4609-b41b-280d6b85a3b8" providerId="ADAL" clId="{B70BA807-D274-444D-A7AF-A116FBD82083}" dt="2022-11-30T13:53:24.990" v="10640" actId="208"/>
          <ac:cxnSpMkLst>
            <pc:docMk/>
            <pc:sldMk cId="3856482971" sldId="260"/>
            <ac:cxnSpMk id="60" creationId="{75BEC58F-33A2-CE87-3FEB-6636D36BA469}"/>
          </ac:cxnSpMkLst>
        </pc:cxnChg>
        <pc:cxnChg chg="add mod">
          <ac:chgData name="Benedikt Ströbl" userId="9f261c9f-df3c-4609-b41b-280d6b85a3b8" providerId="ADAL" clId="{B70BA807-D274-444D-A7AF-A116FBD82083}" dt="2022-11-30T13:53:40.591" v="10641" actId="208"/>
          <ac:cxnSpMkLst>
            <pc:docMk/>
            <pc:sldMk cId="3856482971" sldId="260"/>
            <ac:cxnSpMk id="62" creationId="{EDBF841F-81D0-9DBC-30E4-798A93A01C3D}"/>
          </ac:cxnSpMkLst>
        </pc:cxnChg>
        <pc:cxnChg chg="add mod">
          <ac:chgData name="Benedikt Ströbl" userId="9f261c9f-df3c-4609-b41b-280d6b85a3b8" providerId="ADAL" clId="{B70BA807-D274-444D-A7AF-A116FBD82083}" dt="2022-11-30T13:53:46.558" v="10642" actId="208"/>
          <ac:cxnSpMkLst>
            <pc:docMk/>
            <pc:sldMk cId="3856482971" sldId="260"/>
            <ac:cxnSpMk id="1031" creationId="{8B57FF7F-961B-D406-5016-B541BA7B6FF8}"/>
          </ac:cxnSpMkLst>
        </pc:cxnChg>
        <pc:cxnChg chg="add del mod">
          <ac:chgData name="Benedikt Ströbl" userId="9f261c9f-df3c-4609-b41b-280d6b85a3b8" providerId="ADAL" clId="{B70BA807-D274-444D-A7AF-A116FBD82083}" dt="2022-11-30T10:42:29.402" v="6301"/>
          <ac:cxnSpMkLst>
            <pc:docMk/>
            <pc:sldMk cId="3856482971" sldId="260"/>
            <ac:cxnSpMk id="1040" creationId="{AAA81B2A-74A0-F995-38D8-0279DC3E0811}"/>
          </ac:cxnSpMkLst>
        </pc:cxnChg>
        <pc:cxnChg chg="add del mod">
          <ac:chgData name="Benedikt Ströbl" userId="9f261c9f-df3c-4609-b41b-280d6b85a3b8" providerId="ADAL" clId="{B70BA807-D274-444D-A7AF-A116FBD82083}" dt="2022-11-30T10:42:29.402" v="6301"/>
          <ac:cxnSpMkLst>
            <pc:docMk/>
            <pc:sldMk cId="3856482971" sldId="260"/>
            <ac:cxnSpMk id="1041" creationId="{156EB281-DEC6-703B-725E-6E50C229455A}"/>
          </ac:cxnSpMkLst>
        </pc:cxnChg>
        <pc:cxnChg chg="add del mod">
          <ac:chgData name="Benedikt Ströbl" userId="9f261c9f-df3c-4609-b41b-280d6b85a3b8" providerId="ADAL" clId="{B70BA807-D274-444D-A7AF-A116FBD82083}" dt="2022-11-30T10:42:29.402" v="6301"/>
          <ac:cxnSpMkLst>
            <pc:docMk/>
            <pc:sldMk cId="3856482971" sldId="260"/>
            <ac:cxnSpMk id="1044" creationId="{C8FE6A30-D6B8-8A7A-27B2-C33548205BAF}"/>
          </ac:cxnSpMkLst>
        </pc:cxnChg>
        <pc:cxnChg chg="add del mod">
          <ac:chgData name="Benedikt Ströbl" userId="9f261c9f-df3c-4609-b41b-280d6b85a3b8" providerId="ADAL" clId="{B70BA807-D274-444D-A7AF-A116FBD82083}" dt="2022-11-30T10:47:47.821" v="6407" actId="478"/>
          <ac:cxnSpMkLst>
            <pc:docMk/>
            <pc:sldMk cId="3856482971" sldId="260"/>
            <ac:cxnSpMk id="1049" creationId="{CD5FB2A0-E587-26E2-D15C-D8801115643A}"/>
          </ac:cxnSpMkLst>
        </pc:cxnChg>
      </pc:sldChg>
      <pc:sldChg chg="del">
        <pc:chgData name="Benedikt Ströbl" userId="9f261c9f-df3c-4609-b41b-280d6b85a3b8" providerId="ADAL" clId="{B70BA807-D274-444D-A7AF-A116FBD82083}" dt="2022-11-30T10:54:37.024" v="6861" actId="47"/>
        <pc:sldMkLst>
          <pc:docMk/>
          <pc:sldMk cId="3536271358" sldId="261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677258019" sldId="262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681955870" sldId="263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4150967708" sldId="264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738699272" sldId="266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527289748" sldId="267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887886047" sldId="268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732811737" sldId="269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1110245577" sldId="270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982843562" sldId="271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3920128643" sldId="272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2052036942" sldId="273"/>
        </pc:sldMkLst>
      </pc:sldChg>
      <pc:sldChg chg="del">
        <pc:chgData name="Benedikt Ströbl" userId="9f261c9f-df3c-4609-b41b-280d6b85a3b8" providerId="ADAL" clId="{B70BA807-D274-444D-A7AF-A116FBD82083}" dt="2022-11-30T15:38:08.988" v="11988" actId="47"/>
        <pc:sldMkLst>
          <pc:docMk/>
          <pc:sldMk cId="542639848" sldId="274"/>
        </pc:sldMkLst>
      </pc:sldChg>
      <pc:sldChg chg="addSp delSp modSp new del mod ord">
        <pc:chgData name="Benedikt Ströbl" userId="9f261c9f-df3c-4609-b41b-280d6b85a3b8" providerId="ADAL" clId="{B70BA807-D274-444D-A7AF-A116FBD82083}" dt="2022-11-30T13:32:55.208" v="10607" actId="47"/>
        <pc:sldMkLst>
          <pc:docMk/>
          <pc:sldMk cId="1796749198" sldId="275"/>
        </pc:sldMkLst>
        <pc:spChg chg="mod">
          <ac:chgData name="Benedikt Ströbl" userId="9f261c9f-df3c-4609-b41b-280d6b85a3b8" providerId="ADAL" clId="{B70BA807-D274-444D-A7AF-A116FBD82083}" dt="2022-11-28T10:21:13.460" v="21" actId="20577"/>
          <ac:spMkLst>
            <pc:docMk/>
            <pc:sldMk cId="1796749198" sldId="275"/>
            <ac:spMk id="2" creationId="{5062CF3D-4E96-3247-F69D-3B5B65362FC8}"/>
          </ac:spMkLst>
        </pc:spChg>
        <pc:spChg chg="mod">
          <ac:chgData name="Benedikt Ströbl" userId="9f261c9f-df3c-4609-b41b-280d6b85a3b8" providerId="ADAL" clId="{B70BA807-D274-444D-A7AF-A116FBD82083}" dt="2022-11-30T10:58:14.471" v="7096" actId="20577"/>
          <ac:spMkLst>
            <pc:docMk/>
            <pc:sldMk cId="1796749198" sldId="275"/>
            <ac:spMk id="3" creationId="{35762FDA-7FA2-ED00-4B79-9EE705326531}"/>
          </ac:spMkLst>
        </pc:spChg>
        <pc:spChg chg="add del mod">
          <ac:chgData name="Benedikt Ströbl" userId="9f261c9f-df3c-4609-b41b-280d6b85a3b8" providerId="ADAL" clId="{B70BA807-D274-444D-A7AF-A116FBD82083}" dt="2022-11-30T11:06:03.341" v="7138"/>
          <ac:spMkLst>
            <pc:docMk/>
            <pc:sldMk cId="1796749198" sldId="275"/>
            <ac:spMk id="5" creationId="{A3A702E6-BBF4-03FA-801C-68ECCA7944FF}"/>
          </ac:spMkLst>
        </pc:spChg>
        <pc:spChg chg="add del mod">
          <ac:chgData name="Benedikt Ströbl" userId="9f261c9f-df3c-4609-b41b-280d6b85a3b8" providerId="ADAL" clId="{B70BA807-D274-444D-A7AF-A116FBD82083}" dt="2022-11-30T11:06:03.341" v="7138"/>
          <ac:spMkLst>
            <pc:docMk/>
            <pc:sldMk cId="1796749198" sldId="275"/>
            <ac:spMk id="7" creationId="{8A0C21E3-328D-D2A5-8C94-5DB4EB78EF23}"/>
          </ac:spMkLst>
        </pc:spChg>
        <pc:spChg chg="add del mod">
          <ac:chgData name="Benedikt Ströbl" userId="9f261c9f-df3c-4609-b41b-280d6b85a3b8" providerId="ADAL" clId="{B70BA807-D274-444D-A7AF-A116FBD82083}" dt="2022-11-30T11:06:03.341" v="7138"/>
          <ac:spMkLst>
            <pc:docMk/>
            <pc:sldMk cId="1796749198" sldId="275"/>
            <ac:spMk id="10" creationId="{B8EB5F09-4CB8-7249-3936-0E58835EB0E6}"/>
          </ac:spMkLst>
        </pc:spChg>
        <pc:picChg chg="add del mod">
          <ac:chgData name="Benedikt Ströbl" userId="9f261c9f-df3c-4609-b41b-280d6b85a3b8" providerId="ADAL" clId="{B70BA807-D274-444D-A7AF-A116FBD82083}" dt="2022-11-30T11:06:03.341" v="7138"/>
          <ac:picMkLst>
            <pc:docMk/>
            <pc:sldMk cId="1796749198" sldId="275"/>
            <ac:picMk id="6" creationId="{33D1C26A-F3CC-C1C9-AAF4-4213A360E807}"/>
          </ac:picMkLst>
        </pc:picChg>
        <pc:picChg chg="add del mod">
          <ac:chgData name="Benedikt Ströbl" userId="9f261c9f-df3c-4609-b41b-280d6b85a3b8" providerId="ADAL" clId="{B70BA807-D274-444D-A7AF-A116FBD82083}" dt="2022-11-30T11:06:03.341" v="7138"/>
          <ac:picMkLst>
            <pc:docMk/>
            <pc:sldMk cId="1796749198" sldId="275"/>
            <ac:picMk id="8" creationId="{F3A28545-4022-C8F9-19EC-5A3EE5FE4578}"/>
          </ac:picMkLst>
        </pc:picChg>
        <pc:picChg chg="add del mod">
          <ac:chgData name="Benedikt Ströbl" userId="9f261c9f-df3c-4609-b41b-280d6b85a3b8" providerId="ADAL" clId="{B70BA807-D274-444D-A7AF-A116FBD82083}" dt="2022-11-30T11:06:03.341" v="7138"/>
          <ac:picMkLst>
            <pc:docMk/>
            <pc:sldMk cId="1796749198" sldId="275"/>
            <ac:picMk id="9" creationId="{29A6AE1F-7457-8577-AC46-00024D4E5C56}"/>
          </ac:picMkLst>
        </pc:picChg>
      </pc:sldChg>
      <pc:sldChg chg="modSp new mod ord">
        <pc:chgData name="Benedikt Ströbl" userId="9f261c9f-df3c-4609-b41b-280d6b85a3b8" providerId="ADAL" clId="{B70BA807-D274-444D-A7AF-A116FBD82083}" dt="2022-11-30T11:42:00.922" v="8207"/>
        <pc:sldMkLst>
          <pc:docMk/>
          <pc:sldMk cId="1149782901" sldId="276"/>
        </pc:sldMkLst>
        <pc:spChg chg="mod">
          <ac:chgData name="Benedikt Ströbl" userId="9f261c9f-df3c-4609-b41b-280d6b85a3b8" providerId="ADAL" clId="{B70BA807-D274-444D-A7AF-A116FBD82083}" dt="2022-11-30T08:57:57.004" v="3291" actId="20577"/>
          <ac:spMkLst>
            <pc:docMk/>
            <pc:sldMk cId="1149782901" sldId="276"/>
            <ac:spMk id="2" creationId="{40720AC1-C547-BB37-DB48-BBB85B20D0ED}"/>
          </ac:spMkLst>
        </pc:spChg>
        <pc:spChg chg="mod">
          <ac:chgData name="Benedikt Ströbl" userId="9f261c9f-df3c-4609-b41b-280d6b85a3b8" providerId="ADAL" clId="{B70BA807-D274-444D-A7AF-A116FBD82083}" dt="2022-11-30T11:42:00.922" v="8207"/>
          <ac:spMkLst>
            <pc:docMk/>
            <pc:sldMk cId="1149782901" sldId="276"/>
            <ac:spMk id="3" creationId="{CC2B67DD-F7CC-14EC-A446-A0D00085F19F}"/>
          </ac:spMkLst>
        </pc:spChg>
      </pc:sldChg>
      <pc:sldChg chg="addSp delSp modSp add mod ord modTransition">
        <pc:chgData name="Benedikt Ströbl" userId="9f261c9f-df3c-4609-b41b-280d6b85a3b8" providerId="ADAL" clId="{B70BA807-D274-444D-A7AF-A116FBD82083}" dt="2022-12-01T08:21:04.272" v="12212"/>
        <pc:sldMkLst>
          <pc:docMk/>
          <pc:sldMk cId="4163832818" sldId="277"/>
        </pc:sldMkLst>
        <pc:spChg chg="mod">
          <ac:chgData name="Benedikt Ströbl" userId="9f261c9f-df3c-4609-b41b-280d6b85a3b8" providerId="ADAL" clId="{B70BA807-D274-444D-A7AF-A116FBD82083}" dt="2022-11-30T11:33:24.563" v="8096" actId="20577"/>
          <ac:spMkLst>
            <pc:docMk/>
            <pc:sldMk cId="4163832818" sldId="277"/>
            <ac:spMk id="2" creationId="{4093C56F-C21A-430F-8AE3-3690E0480EF0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4" creationId="{5E01EAA4-9AB5-2D59-4A2B-2C7644A2D35D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8" creationId="{E77A6D09-B582-49C0-B333-86C6617DE061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9" creationId="{68767BFD-E714-4207-A0FE-2143B7409410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10" creationId="{0514D82E-290C-44A2-B527-EE8F7FB8A539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12" creationId="{1B33B243-587F-53B4-9F7A-9649928A61A8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15" creationId="{79D9C69C-115A-8A06-E26F-A334FBF1063C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29" creationId="{66579E08-E14F-69B5-F693-663EFF0B089B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32" creationId="{9AD4AE4B-4B6E-2FA5-0A1C-0CA3FB71598C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34" creationId="{70B30DBB-356F-89C3-3DD1-ADA7AE52C582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41" creationId="{6EBC18F3-E12A-413D-BC3B-5E466A018375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43" creationId="{3BF96FF9-7CCC-442B-8A39-988F91EF56A4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44" creationId="{17BC6A6C-EA69-4D43-AC11-5541702DF016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45" creationId="{225D37E3-1E8B-0C08-6361-EF2F98AAA3E3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49" creationId="{0680FAB9-0CED-AF7F-5F2D-DA875572E916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50" creationId="{DE9409D5-EDF8-1E2F-F54B-AE19921C0806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51" creationId="{2CF63A10-1ABC-01DA-F326-56E47C626253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55" creationId="{7762289D-5CC4-26BC-1394-28C6A5CB19EE}"/>
          </ac:spMkLst>
        </pc:spChg>
        <pc:spChg chg="add del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56" creationId="{B58DF83B-9160-B723-718C-5C4F148EAABD}"/>
          </ac:spMkLst>
        </pc:spChg>
        <pc:spChg chg="add del mod">
          <ac:chgData name="Benedikt Ströbl" userId="9f261c9f-df3c-4609-b41b-280d6b85a3b8" providerId="ADAL" clId="{B70BA807-D274-444D-A7AF-A116FBD82083}" dt="2022-11-30T11:45:22.465" v="8605" actId="478"/>
          <ac:spMkLst>
            <pc:docMk/>
            <pc:sldMk cId="4163832818" sldId="277"/>
            <ac:spMk id="57" creationId="{606BD013-678D-D867-94AE-869AAC34B1FE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58" creationId="{7B4F7C6F-8023-72C6-8B41-52CD948D1D1A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63" creationId="{333E3F3B-F86A-79D0-E294-AA7CAA412C19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1024" creationId="{B1DF56FB-F290-B416-024F-631407EB34AD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1030" creationId="{A2EE5233-1BA8-D2BA-CD24-8BCC11154A90}"/>
          </ac:spMkLst>
        </pc:spChg>
        <pc:spChg chg="add del mod">
          <ac:chgData name="Benedikt Ströbl" userId="9f261c9f-df3c-4609-b41b-280d6b85a3b8" providerId="ADAL" clId="{B70BA807-D274-444D-A7AF-A116FBD82083}" dt="2022-11-30T11:54:37.063" v="9580" actId="478"/>
          <ac:spMkLst>
            <pc:docMk/>
            <pc:sldMk cId="4163832818" sldId="277"/>
            <ac:spMk id="1032" creationId="{25C5FA15-CD10-564A-27C3-CAF35E3F08B4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1034" creationId="{E9729DA6-DDF1-76C3-B7D4-D789432C8EA2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1035" creationId="{E2DC0457-4F09-3467-093A-F91635BE1D2C}"/>
          </ac:spMkLst>
        </pc:spChg>
        <pc:spChg chg="add mod">
          <ac:chgData name="Benedikt Ströbl" userId="9f261c9f-df3c-4609-b41b-280d6b85a3b8" providerId="ADAL" clId="{B70BA807-D274-444D-A7AF-A116FBD82083}" dt="2022-11-30T16:26:14.335" v="12185" actId="1038"/>
          <ac:spMkLst>
            <pc:docMk/>
            <pc:sldMk cId="4163832818" sldId="277"/>
            <ac:spMk id="1036" creationId="{8A7EA101-DA4D-4FC2-84FD-2F2435FB138A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1048" creationId="{29468A30-CEE7-A66B-A879-F9F5ACF105D1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1051" creationId="{4F2D42CB-CBD7-2C32-4F8D-B78E4ACD76F2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1052" creationId="{81EA7851-4D1E-1E59-5798-00B91B68FDC3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1060" creationId="{4D645D5E-9EA0-D0D3-B5BC-5EB0CB9178E3}"/>
          </ac:spMkLst>
        </pc:spChg>
        <pc:spChg chg="del">
          <ac:chgData name="Benedikt Ströbl" userId="9f261c9f-df3c-4609-b41b-280d6b85a3b8" providerId="ADAL" clId="{B70BA807-D274-444D-A7AF-A116FBD82083}" dt="2022-11-30T11:05:57.604" v="7134" actId="478"/>
          <ac:spMkLst>
            <pc:docMk/>
            <pc:sldMk cId="4163832818" sldId="277"/>
            <ac:spMk id="1061" creationId="{8BD8D413-1CC3-716C-2164-F4B69631978B}"/>
          </ac:spMkLst>
        </pc:spChg>
        <pc:spChg chg="del">
          <ac:chgData name="Benedikt Ströbl" userId="9f261c9f-df3c-4609-b41b-280d6b85a3b8" providerId="ADAL" clId="{B70BA807-D274-444D-A7AF-A116FBD82083}" dt="2022-11-30T11:05:54.155" v="7133" actId="478"/>
          <ac:spMkLst>
            <pc:docMk/>
            <pc:sldMk cId="4163832818" sldId="277"/>
            <ac:spMk id="1062" creationId="{960B7374-7B32-90C7-9765-263F115CF927}"/>
          </ac:spMkLst>
        </pc:spChg>
        <pc:picChg chg="del">
          <ac:chgData name="Benedikt Ströbl" userId="9f261c9f-df3c-4609-b41b-280d6b85a3b8" providerId="ADAL" clId="{B70BA807-D274-444D-A7AF-A116FBD82083}" dt="2022-11-30T11:05:54.155" v="7133" actId="478"/>
          <ac:picMkLst>
            <pc:docMk/>
            <pc:sldMk cId="4163832818" sldId="277"/>
            <ac:picMk id="5" creationId="{9743EBAD-CB19-CD55-E750-FBE04129E6D1}"/>
          </ac:picMkLst>
        </pc:picChg>
        <pc:picChg chg="add mod modCrop">
          <ac:chgData name="Benedikt Ströbl" userId="9f261c9f-df3c-4609-b41b-280d6b85a3b8" providerId="ADAL" clId="{B70BA807-D274-444D-A7AF-A116FBD82083}" dt="2022-11-30T16:26:14.335" v="12185" actId="1038"/>
          <ac:picMkLst>
            <pc:docMk/>
            <pc:sldMk cId="4163832818" sldId="277"/>
            <ac:picMk id="6" creationId="{782BF0C8-43F3-1839-2740-43C878683E99}"/>
          </ac:picMkLst>
        </pc:picChg>
        <pc:picChg chg="add mod modCrop">
          <ac:chgData name="Benedikt Ströbl" userId="9f261c9f-df3c-4609-b41b-280d6b85a3b8" providerId="ADAL" clId="{B70BA807-D274-444D-A7AF-A116FBD82083}" dt="2022-11-30T16:26:14.335" v="12185" actId="1038"/>
          <ac:picMkLst>
            <pc:docMk/>
            <pc:sldMk cId="4163832818" sldId="277"/>
            <ac:picMk id="13" creationId="{7F7245BC-CA5C-58E6-FCDB-E0B3C31498B8}"/>
          </ac:picMkLst>
        </pc:picChg>
        <pc:picChg chg="add mod modCrop">
          <ac:chgData name="Benedikt Ströbl" userId="9f261c9f-df3c-4609-b41b-280d6b85a3b8" providerId="ADAL" clId="{B70BA807-D274-444D-A7AF-A116FBD82083}" dt="2022-11-30T16:26:14.335" v="12185" actId="1038"/>
          <ac:picMkLst>
            <pc:docMk/>
            <pc:sldMk cId="4163832818" sldId="277"/>
            <ac:picMk id="14" creationId="{5DD98101-C110-3D29-4ADB-364AD6FC0CE7}"/>
          </ac:picMkLst>
        </pc:picChg>
        <pc:picChg chg="add del mod modCrop">
          <ac:chgData name="Benedikt Ströbl" userId="9f261c9f-df3c-4609-b41b-280d6b85a3b8" providerId="ADAL" clId="{B70BA807-D274-444D-A7AF-A116FBD82083}" dt="2022-11-30T11:17:48.848" v="7152" actId="478"/>
          <ac:picMkLst>
            <pc:docMk/>
            <pc:sldMk cId="4163832818" sldId="277"/>
            <ac:picMk id="18" creationId="{5848F214-C24B-BB70-ECF7-B55E6A67395D}"/>
          </ac:picMkLst>
        </pc:picChg>
        <pc:picChg chg="add del mod modCrop">
          <ac:chgData name="Benedikt Ströbl" userId="9f261c9f-df3c-4609-b41b-280d6b85a3b8" providerId="ADAL" clId="{B70BA807-D274-444D-A7AF-A116FBD82083}" dt="2022-11-30T11:18:09.935" v="7158" actId="21"/>
          <ac:picMkLst>
            <pc:docMk/>
            <pc:sldMk cId="4163832818" sldId="277"/>
            <ac:picMk id="22" creationId="{6A638CCD-FF00-4922-3876-D41D8428DE28}"/>
          </ac:picMkLst>
        </pc:picChg>
        <pc:picChg chg="add del mod">
          <ac:chgData name="Benedikt Ströbl" userId="9f261c9f-df3c-4609-b41b-280d6b85a3b8" providerId="ADAL" clId="{B70BA807-D274-444D-A7AF-A116FBD82083}" dt="2022-11-30T11:23:03.703" v="7323" actId="21"/>
          <ac:picMkLst>
            <pc:docMk/>
            <pc:sldMk cId="4163832818" sldId="277"/>
            <ac:picMk id="26" creationId="{C1568F81-7AC9-6B20-1D17-97E499FF2549}"/>
          </ac:picMkLst>
        </pc:picChg>
        <pc:picChg chg="del">
          <ac:chgData name="Benedikt Ströbl" userId="9f261c9f-df3c-4609-b41b-280d6b85a3b8" providerId="ADAL" clId="{B70BA807-D274-444D-A7AF-A116FBD82083}" dt="2022-11-30T11:05:54.155" v="7133" actId="478"/>
          <ac:picMkLst>
            <pc:docMk/>
            <pc:sldMk cId="4163832818" sldId="277"/>
            <ac:picMk id="37" creationId="{C49EA35D-1E35-09E6-EE22-BB32553E34B6}"/>
          </ac:picMkLst>
        </pc:picChg>
        <pc:picChg chg="add del mod">
          <ac:chgData name="Benedikt Ströbl" userId="9f261c9f-df3c-4609-b41b-280d6b85a3b8" providerId="ADAL" clId="{B70BA807-D274-444D-A7AF-A116FBD82083}" dt="2022-11-30T11:24:00.288" v="7329" actId="21"/>
          <ac:picMkLst>
            <pc:docMk/>
            <pc:sldMk cId="4163832818" sldId="277"/>
            <ac:picMk id="38" creationId="{FA3B4CCE-19A5-E072-FCA2-EA5EF4CE9021}"/>
          </ac:picMkLst>
        </pc:picChg>
        <pc:picChg chg="add mod modCrop">
          <ac:chgData name="Benedikt Ströbl" userId="9f261c9f-df3c-4609-b41b-280d6b85a3b8" providerId="ADAL" clId="{B70BA807-D274-444D-A7AF-A116FBD82083}" dt="2022-11-30T16:26:14.335" v="12185" actId="1038"/>
          <ac:picMkLst>
            <pc:docMk/>
            <pc:sldMk cId="4163832818" sldId="277"/>
            <ac:picMk id="42" creationId="{65A50A28-E2CB-80AC-5B59-A02FDA732D18}"/>
          </ac:picMkLst>
        </pc:picChg>
        <pc:picChg chg="add del mod">
          <ac:chgData name="Benedikt Ströbl" userId="9f261c9f-df3c-4609-b41b-280d6b85a3b8" providerId="ADAL" clId="{B70BA807-D274-444D-A7AF-A116FBD82083}" dt="2022-11-30T11:26:40.527" v="7346" actId="21"/>
          <ac:picMkLst>
            <pc:docMk/>
            <pc:sldMk cId="4163832818" sldId="277"/>
            <ac:picMk id="47" creationId="{C927EA57-838D-A000-FF36-F9D02BA81F94}"/>
          </ac:picMkLst>
        </pc:picChg>
        <pc:picChg chg="del">
          <ac:chgData name="Benedikt Ströbl" userId="9f261c9f-df3c-4609-b41b-280d6b85a3b8" providerId="ADAL" clId="{B70BA807-D274-444D-A7AF-A116FBD82083}" dt="2022-11-30T11:05:54.155" v="7133" actId="478"/>
          <ac:picMkLst>
            <pc:docMk/>
            <pc:sldMk cId="4163832818" sldId="277"/>
            <ac:picMk id="1026" creationId="{AD9DA9F8-6DC6-00D1-AE73-EBFF55D86E74}"/>
          </ac:picMkLst>
        </pc:picChg>
        <pc:picChg chg="del">
          <ac:chgData name="Benedikt Ströbl" userId="9f261c9f-df3c-4609-b41b-280d6b85a3b8" providerId="ADAL" clId="{B70BA807-D274-444D-A7AF-A116FBD82083}" dt="2022-11-30T11:05:54.155" v="7133" actId="478"/>
          <ac:picMkLst>
            <pc:docMk/>
            <pc:sldMk cId="4163832818" sldId="277"/>
            <ac:picMk id="1028" creationId="{0D91AE4E-DA22-4CB5-7D4B-D1C0F9CF88F4}"/>
          </ac:picMkLst>
        </pc:picChg>
        <pc:picChg chg="del">
          <ac:chgData name="Benedikt Ströbl" userId="9f261c9f-df3c-4609-b41b-280d6b85a3b8" providerId="ADAL" clId="{B70BA807-D274-444D-A7AF-A116FBD82083}" dt="2022-11-30T11:05:54.155" v="7133" actId="478"/>
          <ac:picMkLst>
            <pc:docMk/>
            <pc:sldMk cId="4163832818" sldId="277"/>
            <ac:picMk id="1046" creationId="{5A2DE41A-00B5-6CED-F432-46A9E4D53DB7}"/>
          </ac:picMkLst>
        </pc:picChg>
        <pc:picChg chg="del">
          <ac:chgData name="Benedikt Ströbl" userId="9f261c9f-df3c-4609-b41b-280d6b85a3b8" providerId="ADAL" clId="{B70BA807-D274-444D-A7AF-A116FBD82083}" dt="2022-11-30T11:05:54.155" v="7133" actId="478"/>
          <ac:picMkLst>
            <pc:docMk/>
            <pc:sldMk cId="4163832818" sldId="277"/>
            <ac:picMk id="1054" creationId="{98EF6E25-42ED-BA27-AE5D-A4A58B80769F}"/>
          </ac:picMkLst>
        </pc:picChg>
        <pc:picChg chg="del">
          <ac:chgData name="Benedikt Ströbl" userId="9f261c9f-df3c-4609-b41b-280d6b85a3b8" providerId="ADAL" clId="{B70BA807-D274-444D-A7AF-A116FBD82083}" dt="2022-11-30T11:05:54.155" v="7133" actId="478"/>
          <ac:picMkLst>
            <pc:docMk/>
            <pc:sldMk cId="4163832818" sldId="277"/>
            <ac:picMk id="1056" creationId="{BD606C81-529C-77FE-7182-FA5D6B6ACE1E}"/>
          </ac:picMkLst>
        </pc:picChg>
        <pc:picChg chg="del">
          <ac:chgData name="Benedikt Ströbl" userId="9f261c9f-df3c-4609-b41b-280d6b85a3b8" providerId="ADAL" clId="{B70BA807-D274-444D-A7AF-A116FBD82083}" dt="2022-11-30T11:05:54.155" v="7133" actId="478"/>
          <ac:picMkLst>
            <pc:docMk/>
            <pc:sldMk cId="4163832818" sldId="277"/>
            <ac:picMk id="1058" creationId="{8707FC7E-68ED-8F0B-E903-DBE7DD292E13}"/>
          </ac:picMkLst>
        </pc:picChg>
        <pc:cxnChg chg="del">
          <ac:chgData name="Benedikt Ströbl" userId="9f261c9f-df3c-4609-b41b-280d6b85a3b8" providerId="ADAL" clId="{B70BA807-D274-444D-A7AF-A116FBD82083}" dt="2022-11-30T11:05:54.155" v="7133" actId="478"/>
          <ac:cxnSpMkLst>
            <pc:docMk/>
            <pc:sldMk cId="4163832818" sldId="277"/>
            <ac:cxnSpMk id="7" creationId="{3CA8B95F-395D-4D08-B83D-856816AC49FF}"/>
          </ac:cxnSpMkLst>
        </pc:cxnChg>
        <pc:cxnChg chg="del">
          <ac:chgData name="Benedikt Ströbl" userId="9f261c9f-df3c-4609-b41b-280d6b85a3b8" providerId="ADAL" clId="{B70BA807-D274-444D-A7AF-A116FBD82083}" dt="2022-11-30T11:05:54.155" v="7133" actId="478"/>
          <ac:cxnSpMkLst>
            <pc:docMk/>
            <pc:sldMk cId="4163832818" sldId="277"/>
            <ac:cxnSpMk id="33" creationId="{9F1A3056-2B73-53D3-4789-B23BC4371022}"/>
          </ac:cxnSpMkLst>
        </pc:cxnChg>
        <pc:cxnChg chg="del">
          <ac:chgData name="Benedikt Ströbl" userId="9f261c9f-df3c-4609-b41b-280d6b85a3b8" providerId="ADAL" clId="{B70BA807-D274-444D-A7AF-A116FBD82083}" dt="2022-11-30T11:05:54.155" v="7133" actId="478"/>
          <ac:cxnSpMkLst>
            <pc:docMk/>
            <pc:sldMk cId="4163832818" sldId="277"/>
            <ac:cxnSpMk id="35" creationId="{E72B67F2-A9A4-7B7A-D2B5-0C9224DD9B49}"/>
          </ac:cxnSpMkLst>
        </pc:cxnChg>
        <pc:cxnChg chg="del">
          <ac:chgData name="Benedikt Ströbl" userId="9f261c9f-df3c-4609-b41b-280d6b85a3b8" providerId="ADAL" clId="{B70BA807-D274-444D-A7AF-A116FBD82083}" dt="2022-11-30T11:05:54.155" v="7133" actId="478"/>
          <ac:cxnSpMkLst>
            <pc:docMk/>
            <pc:sldMk cId="4163832818" sldId="277"/>
            <ac:cxnSpMk id="36" creationId="{F6B15DA1-2D3B-4D54-ABEB-D8D9963F0806}"/>
          </ac:cxnSpMkLst>
        </pc:cxnChg>
        <pc:cxnChg chg="del">
          <ac:chgData name="Benedikt Ströbl" userId="9f261c9f-df3c-4609-b41b-280d6b85a3b8" providerId="ADAL" clId="{B70BA807-D274-444D-A7AF-A116FBD82083}" dt="2022-11-30T11:05:54.155" v="7133" actId="478"/>
          <ac:cxnSpMkLst>
            <pc:docMk/>
            <pc:sldMk cId="4163832818" sldId="277"/>
            <ac:cxnSpMk id="39" creationId="{23F6C8AD-6D07-47E9-B93E-B8F7AF465B3C}"/>
          </ac:cxnSpMkLst>
        </pc:cxnChg>
        <pc:cxnChg chg="del">
          <ac:chgData name="Benedikt Ströbl" userId="9f261c9f-df3c-4609-b41b-280d6b85a3b8" providerId="ADAL" clId="{B70BA807-D274-444D-A7AF-A116FBD82083}" dt="2022-11-30T11:05:54.155" v="7133" actId="478"/>
          <ac:cxnSpMkLst>
            <pc:docMk/>
            <pc:sldMk cId="4163832818" sldId="277"/>
            <ac:cxnSpMk id="40" creationId="{5A1F25D6-0AAD-448E-A150-CBF078FC6F7F}"/>
          </ac:cxnSpMkLst>
        </pc:cxnChg>
        <pc:cxnChg chg="del">
          <ac:chgData name="Benedikt Ströbl" userId="9f261c9f-df3c-4609-b41b-280d6b85a3b8" providerId="ADAL" clId="{B70BA807-D274-444D-A7AF-A116FBD82083}" dt="2022-11-30T11:05:54.155" v="7133" actId="478"/>
          <ac:cxnSpMkLst>
            <pc:docMk/>
            <pc:sldMk cId="4163832818" sldId="277"/>
            <ac:cxnSpMk id="48" creationId="{E4137540-4465-526A-C317-3ACD8021CE89}"/>
          </ac:cxnSpMkLst>
        </pc:cxnChg>
        <pc:cxnChg chg="del">
          <ac:chgData name="Benedikt Ströbl" userId="9f261c9f-df3c-4609-b41b-280d6b85a3b8" providerId="ADAL" clId="{B70BA807-D274-444D-A7AF-A116FBD82083}" dt="2022-11-30T11:05:54.155" v="7133" actId="478"/>
          <ac:cxnSpMkLst>
            <pc:docMk/>
            <pc:sldMk cId="4163832818" sldId="277"/>
            <ac:cxnSpMk id="52" creationId="{5DEF0402-B773-6E84-5B62-55D82A409279}"/>
          </ac:cxnSpMkLst>
        </pc:cxnChg>
        <pc:cxnChg chg="add mod">
          <ac:chgData name="Benedikt Ströbl" userId="9f261c9f-df3c-4609-b41b-280d6b85a3b8" providerId="ADAL" clId="{B70BA807-D274-444D-A7AF-A116FBD82083}" dt="2022-11-30T16:26:14.335" v="12185" actId="1038"/>
          <ac:cxnSpMkLst>
            <pc:docMk/>
            <pc:sldMk cId="4163832818" sldId="277"/>
            <ac:cxnSpMk id="53" creationId="{D12B29CA-2947-3C4E-981B-E516C0A4A6B6}"/>
          </ac:cxnSpMkLst>
        </pc:cxnChg>
        <pc:cxnChg chg="del">
          <ac:chgData name="Benedikt Ströbl" userId="9f261c9f-df3c-4609-b41b-280d6b85a3b8" providerId="ADAL" clId="{B70BA807-D274-444D-A7AF-A116FBD82083}" dt="2022-11-30T11:05:54.155" v="7133" actId="478"/>
          <ac:cxnSpMkLst>
            <pc:docMk/>
            <pc:sldMk cId="4163832818" sldId="277"/>
            <ac:cxnSpMk id="54" creationId="{87F9BF86-1494-81B1-0F49-5A065BAAB7CD}"/>
          </ac:cxnSpMkLst>
        </pc:cxnChg>
        <pc:cxnChg chg="add mod">
          <ac:chgData name="Benedikt Ströbl" userId="9f261c9f-df3c-4609-b41b-280d6b85a3b8" providerId="ADAL" clId="{B70BA807-D274-444D-A7AF-A116FBD82083}" dt="2022-11-30T16:26:14.335" v="12185" actId="1038"/>
          <ac:cxnSpMkLst>
            <pc:docMk/>
            <pc:sldMk cId="4163832818" sldId="277"/>
            <ac:cxnSpMk id="61" creationId="{4AEEC3F0-E98E-E117-A67C-5716B1454422}"/>
          </ac:cxnSpMkLst>
        </pc:cxnChg>
        <pc:cxnChg chg="add mod">
          <ac:chgData name="Benedikt Ströbl" userId="9f261c9f-df3c-4609-b41b-280d6b85a3b8" providerId="ADAL" clId="{B70BA807-D274-444D-A7AF-A116FBD82083}" dt="2022-11-30T16:26:14.335" v="12185" actId="1038"/>
          <ac:cxnSpMkLst>
            <pc:docMk/>
            <pc:sldMk cId="4163832818" sldId="277"/>
            <ac:cxnSpMk id="1025" creationId="{8AA42940-6071-5101-2796-BA0C01216024}"/>
          </ac:cxnSpMkLst>
        </pc:cxnChg>
        <pc:cxnChg chg="add mod">
          <ac:chgData name="Benedikt Ströbl" userId="9f261c9f-df3c-4609-b41b-280d6b85a3b8" providerId="ADAL" clId="{B70BA807-D274-444D-A7AF-A116FBD82083}" dt="2022-11-30T16:26:14.335" v="12185" actId="1038"/>
          <ac:cxnSpMkLst>
            <pc:docMk/>
            <pc:sldMk cId="4163832818" sldId="277"/>
            <ac:cxnSpMk id="1037" creationId="{B49275A9-2583-81F4-6203-7D6855D67547}"/>
          </ac:cxnSpMkLst>
        </pc:cxnChg>
      </pc:sldChg>
      <pc:sldChg chg="add del">
        <pc:chgData name="Benedikt Ströbl" userId="9f261c9f-df3c-4609-b41b-280d6b85a3b8" providerId="ADAL" clId="{B70BA807-D274-444D-A7AF-A116FBD82083}" dt="2022-11-30T11:05:59.657" v="7136"/>
        <pc:sldMkLst>
          <pc:docMk/>
          <pc:sldMk cId="2125117328" sldId="278"/>
        </pc:sldMkLst>
      </pc:sldChg>
      <pc:sldChg chg="addSp modSp mod modTransition">
        <pc:chgData name="Benedikt Ströbl" userId="9f261c9f-df3c-4609-b41b-280d6b85a3b8" providerId="ADAL" clId="{B70BA807-D274-444D-A7AF-A116FBD82083}" dt="2022-12-01T08:22:01.829" v="12245" actId="27636"/>
        <pc:sldMkLst>
          <pc:docMk/>
          <pc:sldMk cId="3814695085" sldId="278"/>
        </pc:sldMkLst>
        <pc:spChg chg="mod">
          <ac:chgData name="Benedikt Ströbl" userId="9f261c9f-df3c-4609-b41b-280d6b85a3b8" providerId="ADAL" clId="{B70BA807-D274-444D-A7AF-A116FBD82083}" dt="2022-11-30T16:24:56.853" v="12153" actId="20577"/>
          <ac:spMkLst>
            <pc:docMk/>
            <pc:sldMk cId="3814695085" sldId="278"/>
            <ac:spMk id="2" creationId="{91958196-E9F6-4665-B7A5-739B36D9A4F1}"/>
          </ac:spMkLst>
        </pc:spChg>
        <pc:spChg chg="mod">
          <ac:chgData name="Benedikt Ströbl" userId="9f261c9f-df3c-4609-b41b-280d6b85a3b8" providerId="ADAL" clId="{B70BA807-D274-444D-A7AF-A116FBD82083}" dt="2022-12-01T08:22:01.829" v="12245" actId="27636"/>
          <ac:spMkLst>
            <pc:docMk/>
            <pc:sldMk cId="3814695085" sldId="278"/>
            <ac:spMk id="12" creationId="{A66FD04B-5ACA-E113-C335-4151460C53A6}"/>
          </ac:spMkLst>
        </pc:spChg>
        <pc:picChg chg="add mod">
          <ac:chgData name="Benedikt Ströbl" userId="9f261c9f-df3c-4609-b41b-280d6b85a3b8" providerId="ADAL" clId="{B70BA807-D274-444D-A7AF-A116FBD82083}" dt="2022-11-30T14:47:49.316" v="10698" actId="1076"/>
          <ac:picMkLst>
            <pc:docMk/>
            <pc:sldMk cId="3814695085" sldId="278"/>
            <ac:picMk id="4" creationId="{8ED8D58A-DFE5-3025-A058-ECB0CB65B38D}"/>
          </ac:picMkLst>
        </pc:picChg>
      </pc:sldChg>
      <pc:sldChg chg="modSp mod">
        <pc:chgData name="Benedikt Ströbl" userId="9f261c9f-df3c-4609-b41b-280d6b85a3b8" providerId="ADAL" clId="{B70BA807-D274-444D-A7AF-A116FBD82083}" dt="2022-11-30T13:32:42.192" v="10601"/>
        <pc:sldMkLst>
          <pc:docMk/>
          <pc:sldMk cId="3489997101" sldId="279"/>
        </pc:sldMkLst>
        <pc:spChg chg="mod">
          <ac:chgData name="Benedikt Ströbl" userId="9f261c9f-df3c-4609-b41b-280d6b85a3b8" providerId="ADAL" clId="{B70BA807-D274-444D-A7AF-A116FBD82083}" dt="2022-11-30T13:32:42.192" v="10601"/>
          <ac:spMkLst>
            <pc:docMk/>
            <pc:sldMk cId="3489997101" sldId="279"/>
            <ac:spMk id="2" creationId="{91958196-E9F6-4665-B7A5-739B36D9A4F1}"/>
          </ac:spMkLst>
        </pc:spChg>
      </pc:sldChg>
      <pc:sldChg chg="addSp modSp mod modTransition">
        <pc:chgData name="Benedikt Ströbl" userId="9f261c9f-df3c-4609-b41b-280d6b85a3b8" providerId="ADAL" clId="{B70BA807-D274-444D-A7AF-A116FBD82083}" dt="2022-12-01T08:21:03.279" v="12211"/>
        <pc:sldMkLst>
          <pc:docMk/>
          <pc:sldMk cId="349819430" sldId="280"/>
        </pc:sldMkLst>
        <pc:spChg chg="mod">
          <ac:chgData name="Benedikt Ströbl" userId="9f261c9f-df3c-4609-b41b-280d6b85a3b8" providerId="ADAL" clId="{B70BA807-D274-444D-A7AF-A116FBD82083}" dt="2022-11-30T13:32:47.565" v="10604"/>
          <ac:spMkLst>
            <pc:docMk/>
            <pc:sldMk cId="349819430" sldId="280"/>
            <ac:spMk id="2" creationId="{91958196-E9F6-4665-B7A5-739B36D9A4F1}"/>
          </ac:spMkLst>
        </pc:spChg>
        <pc:spChg chg="add mod">
          <ac:chgData name="Benedikt Ströbl" userId="9f261c9f-df3c-4609-b41b-280d6b85a3b8" providerId="ADAL" clId="{B70BA807-D274-444D-A7AF-A116FBD82083}" dt="2022-11-30T13:23:15.391" v="10364" actId="14100"/>
          <ac:spMkLst>
            <pc:docMk/>
            <pc:sldMk cId="349819430" sldId="280"/>
            <ac:spMk id="6" creationId="{D4A1BF13-A8F3-3255-BB19-BB5E9895376C}"/>
          </ac:spMkLst>
        </pc:spChg>
        <pc:spChg chg="add mod">
          <ac:chgData name="Benedikt Ströbl" userId="9f261c9f-df3c-4609-b41b-280d6b85a3b8" providerId="ADAL" clId="{B70BA807-D274-444D-A7AF-A116FBD82083}" dt="2022-11-30T13:32:15.099" v="10591" actId="20577"/>
          <ac:spMkLst>
            <pc:docMk/>
            <pc:sldMk cId="349819430" sldId="280"/>
            <ac:spMk id="7" creationId="{B98F9D3B-D217-F455-9A92-4279BD889733}"/>
          </ac:spMkLst>
        </pc:spChg>
        <pc:spChg chg="add mod">
          <ac:chgData name="Benedikt Ströbl" userId="9f261c9f-df3c-4609-b41b-280d6b85a3b8" providerId="ADAL" clId="{B70BA807-D274-444D-A7AF-A116FBD82083}" dt="2022-11-30T15:10:08.878" v="11689" actId="1035"/>
          <ac:spMkLst>
            <pc:docMk/>
            <pc:sldMk cId="349819430" sldId="280"/>
            <ac:spMk id="8" creationId="{FB423219-FA49-EED4-DC9A-8E6D0CC5A4A0}"/>
          </ac:spMkLst>
        </pc:spChg>
        <pc:spChg chg="add mod">
          <ac:chgData name="Benedikt Ströbl" userId="9f261c9f-df3c-4609-b41b-280d6b85a3b8" providerId="ADAL" clId="{B70BA807-D274-444D-A7AF-A116FBD82083}" dt="2022-11-30T14:59:48.810" v="10748" actId="1036"/>
          <ac:spMkLst>
            <pc:docMk/>
            <pc:sldMk cId="349819430" sldId="280"/>
            <ac:spMk id="11" creationId="{7551ABB4-FC26-1C9D-BB3F-C470FE4E0367}"/>
          </ac:spMkLst>
        </pc:spChg>
        <pc:spChg chg="add mod">
          <ac:chgData name="Benedikt Ströbl" userId="9f261c9f-df3c-4609-b41b-280d6b85a3b8" providerId="ADAL" clId="{B70BA807-D274-444D-A7AF-A116FBD82083}" dt="2022-11-30T15:02:26.866" v="10830" actId="207"/>
          <ac:spMkLst>
            <pc:docMk/>
            <pc:sldMk cId="349819430" sldId="280"/>
            <ac:spMk id="12" creationId="{7D43DF53-9C43-6A27-B151-498804B66554}"/>
          </ac:spMkLst>
        </pc:spChg>
        <pc:spChg chg="add mod">
          <ac:chgData name="Benedikt Ströbl" userId="9f261c9f-df3c-4609-b41b-280d6b85a3b8" providerId="ADAL" clId="{B70BA807-D274-444D-A7AF-A116FBD82083}" dt="2022-11-30T15:02:44.331" v="10835" actId="207"/>
          <ac:spMkLst>
            <pc:docMk/>
            <pc:sldMk cId="349819430" sldId="280"/>
            <ac:spMk id="13" creationId="{BF334372-D340-4AFA-AF43-37E1833B2908}"/>
          </ac:spMkLst>
        </pc:spChg>
        <pc:spChg chg="add mod">
          <ac:chgData name="Benedikt Ströbl" userId="9f261c9f-df3c-4609-b41b-280d6b85a3b8" providerId="ADAL" clId="{B70BA807-D274-444D-A7AF-A116FBD82083}" dt="2022-11-30T15:10:08.878" v="11689" actId="1035"/>
          <ac:spMkLst>
            <pc:docMk/>
            <pc:sldMk cId="349819430" sldId="280"/>
            <ac:spMk id="14" creationId="{B3CBF507-D32A-CCB6-82F8-6B85D252CCEB}"/>
          </ac:spMkLst>
        </pc:spChg>
        <pc:spChg chg="add mod">
          <ac:chgData name="Benedikt Ströbl" userId="9f261c9f-df3c-4609-b41b-280d6b85a3b8" providerId="ADAL" clId="{B70BA807-D274-444D-A7AF-A116FBD82083}" dt="2022-11-30T15:10:14.598" v="11712" actId="1035"/>
          <ac:spMkLst>
            <pc:docMk/>
            <pc:sldMk cId="349819430" sldId="280"/>
            <ac:spMk id="16" creationId="{A6383C72-CE1D-22AE-5743-6D72C007E399}"/>
          </ac:spMkLst>
        </pc:spChg>
        <pc:spChg chg="add mod">
          <ac:chgData name="Benedikt Ströbl" userId="9f261c9f-df3c-4609-b41b-280d6b85a3b8" providerId="ADAL" clId="{B70BA807-D274-444D-A7AF-A116FBD82083}" dt="2022-11-30T15:11:31.874" v="11907" actId="20577"/>
          <ac:spMkLst>
            <pc:docMk/>
            <pc:sldMk cId="349819430" sldId="280"/>
            <ac:spMk id="18" creationId="{91E305C5-08B7-677A-854C-EB3C3FAA01F3}"/>
          </ac:spMkLst>
        </pc:spChg>
        <pc:spChg chg="add mod">
          <ac:chgData name="Benedikt Ströbl" userId="9f261c9f-df3c-4609-b41b-280d6b85a3b8" providerId="ADAL" clId="{B70BA807-D274-444D-A7AF-A116FBD82083}" dt="2022-11-30T15:12:17.898" v="11910"/>
          <ac:spMkLst>
            <pc:docMk/>
            <pc:sldMk cId="349819430" sldId="280"/>
            <ac:spMk id="19" creationId="{2512969D-DCFE-E655-116C-3D3E62A29FD0}"/>
          </ac:spMkLst>
        </pc:spChg>
        <pc:picChg chg="add mod">
          <ac:chgData name="Benedikt Ströbl" userId="9f261c9f-df3c-4609-b41b-280d6b85a3b8" providerId="ADAL" clId="{B70BA807-D274-444D-A7AF-A116FBD82083}" dt="2022-11-30T13:31:08.883" v="10418" actId="14826"/>
          <ac:picMkLst>
            <pc:docMk/>
            <pc:sldMk cId="349819430" sldId="280"/>
            <ac:picMk id="5" creationId="{52AABFD0-50B8-0B65-447E-720971468151}"/>
          </ac:picMkLst>
        </pc:picChg>
        <pc:cxnChg chg="add mod">
          <ac:chgData name="Benedikt Ströbl" userId="9f261c9f-df3c-4609-b41b-280d6b85a3b8" providerId="ADAL" clId="{B70BA807-D274-444D-A7AF-A116FBD82083}" dt="2022-11-30T15:10:08.878" v="11689" actId="1035"/>
          <ac:cxnSpMkLst>
            <pc:docMk/>
            <pc:sldMk cId="349819430" sldId="280"/>
            <ac:cxnSpMk id="9" creationId="{AD4C2572-E21F-3F08-B2F3-0303E23268F6}"/>
          </ac:cxnSpMkLst>
        </pc:cxnChg>
        <pc:cxnChg chg="add mod">
          <ac:chgData name="Benedikt Ströbl" userId="9f261c9f-df3c-4609-b41b-280d6b85a3b8" providerId="ADAL" clId="{B70BA807-D274-444D-A7AF-A116FBD82083}" dt="2022-11-30T15:10:08.878" v="11689" actId="1035"/>
          <ac:cxnSpMkLst>
            <pc:docMk/>
            <pc:sldMk cId="349819430" sldId="280"/>
            <ac:cxnSpMk id="15" creationId="{E55B1C27-E4D8-AB6B-64DD-FF26613B87E2}"/>
          </ac:cxnSpMkLst>
        </pc:cxnChg>
        <pc:cxnChg chg="add mod">
          <ac:chgData name="Benedikt Ströbl" userId="9f261c9f-df3c-4609-b41b-280d6b85a3b8" providerId="ADAL" clId="{B70BA807-D274-444D-A7AF-A116FBD82083}" dt="2022-11-30T15:10:14.598" v="11712" actId="1035"/>
          <ac:cxnSpMkLst>
            <pc:docMk/>
            <pc:sldMk cId="349819430" sldId="280"/>
            <ac:cxnSpMk id="17" creationId="{A0F4EDB6-362C-7CC0-8221-7C12D24BC7D4}"/>
          </ac:cxnSpMkLst>
        </pc:cxnChg>
        <pc:cxnChg chg="add mod">
          <ac:chgData name="Benedikt Ströbl" userId="9f261c9f-df3c-4609-b41b-280d6b85a3b8" providerId="ADAL" clId="{B70BA807-D274-444D-A7AF-A116FBD82083}" dt="2022-11-30T15:10:20.617" v="11732" actId="1035"/>
          <ac:cxnSpMkLst>
            <pc:docMk/>
            <pc:sldMk cId="349819430" sldId="280"/>
            <ac:cxnSpMk id="20" creationId="{BFE03F37-D376-0F43-7F8E-BE59D7AD7EB7}"/>
          </ac:cxnSpMkLst>
        </pc:cxnChg>
      </pc:sldChg>
      <pc:sldChg chg="modSp add mod ord modTransition">
        <pc:chgData name="Benedikt Ströbl" userId="9f261c9f-df3c-4609-b41b-280d6b85a3b8" providerId="ADAL" clId="{B70BA807-D274-444D-A7AF-A116FBD82083}" dt="2022-12-01T08:21:08.096" v="12213"/>
        <pc:sldMkLst>
          <pc:docMk/>
          <pc:sldMk cId="3931747356" sldId="281"/>
        </pc:sldMkLst>
        <pc:spChg chg="mod">
          <ac:chgData name="Benedikt Ströbl" userId="9f261c9f-df3c-4609-b41b-280d6b85a3b8" providerId="ADAL" clId="{B70BA807-D274-444D-A7AF-A116FBD82083}" dt="2022-11-30T13:17:27.320" v="9912" actId="20577"/>
          <ac:spMkLst>
            <pc:docMk/>
            <pc:sldMk cId="3931747356" sldId="281"/>
            <ac:spMk id="6" creationId="{C15CE5AA-E5A9-41F8-9E45-BBB4AC538F62}"/>
          </ac:spMkLst>
        </pc:spChg>
        <pc:spChg chg="mod">
          <ac:chgData name="Benedikt Ströbl" userId="9f261c9f-df3c-4609-b41b-280d6b85a3b8" providerId="ADAL" clId="{B70BA807-D274-444D-A7AF-A116FBD82083}" dt="2022-11-30T13:18:08.257" v="10059" actId="20577"/>
          <ac:spMkLst>
            <pc:docMk/>
            <pc:sldMk cId="3931747356" sldId="281"/>
            <ac:spMk id="7" creationId="{B78FA759-CDEC-4C9C-A1D7-4FC3306CBD70}"/>
          </ac:spMkLst>
        </pc:spChg>
      </pc:sldChg>
      <pc:sldChg chg="addSp delSp modSp add mod modTransition">
        <pc:chgData name="Benedikt Ströbl" userId="9f261c9f-df3c-4609-b41b-280d6b85a3b8" providerId="ADAL" clId="{B70BA807-D274-444D-A7AF-A116FBD82083}" dt="2022-12-01T08:21:08.982" v="12214"/>
        <pc:sldMkLst>
          <pc:docMk/>
          <pc:sldMk cId="4127775961" sldId="282"/>
        </pc:sldMkLst>
        <pc:spChg chg="mod">
          <ac:chgData name="Benedikt Ströbl" userId="9f261c9f-df3c-4609-b41b-280d6b85a3b8" providerId="ADAL" clId="{B70BA807-D274-444D-A7AF-A116FBD82083}" dt="2022-11-30T13:21:44.188" v="10289" actId="20577"/>
          <ac:spMkLst>
            <pc:docMk/>
            <pc:sldMk cId="4127775961" sldId="282"/>
            <ac:spMk id="2" creationId="{F4BE81F6-DF96-4693-A4E8-E70870B8646C}"/>
          </ac:spMkLst>
        </pc:spChg>
        <pc:spChg chg="del">
          <ac:chgData name="Benedikt Ströbl" userId="9f261c9f-df3c-4609-b41b-280d6b85a3b8" providerId="ADAL" clId="{B70BA807-D274-444D-A7AF-A116FBD82083}" dt="2022-11-30T13:18:22.777" v="10061" actId="478"/>
          <ac:spMkLst>
            <pc:docMk/>
            <pc:sldMk cId="4127775961" sldId="282"/>
            <ac:spMk id="3" creationId="{FE058514-FA59-8B91-7584-EF26F8E51119}"/>
          </ac:spMkLst>
        </pc:spChg>
        <pc:spChg chg="add mod">
          <ac:chgData name="Benedikt Ströbl" userId="9f261c9f-df3c-4609-b41b-280d6b85a3b8" providerId="ADAL" clId="{B70BA807-D274-444D-A7AF-A116FBD82083}" dt="2022-11-30T13:21:54.811" v="10302" actId="1035"/>
          <ac:spMkLst>
            <pc:docMk/>
            <pc:sldMk cId="4127775961" sldId="282"/>
            <ac:spMk id="8" creationId="{5D2B229C-F10F-DD76-E812-F0AF944F6BC2}"/>
          </ac:spMkLst>
        </pc:spChg>
        <pc:spChg chg="add mod">
          <ac:chgData name="Benedikt Ströbl" userId="9f261c9f-df3c-4609-b41b-280d6b85a3b8" providerId="ADAL" clId="{B70BA807-D274-444D-A7AF-A116FBD82083}" dt="2022-11-30T13:21:54.811" v="10302" actId="1035"/>
          <ac:spMkLst>
            <pc:docMk/>
            <pc:sldMk cId="4127775961" sldId="282"/>
            <ac:spMk id="12" creationId="{543E5B85-0FFA-9752-0499-C3EDB5B30541}"/>
          </ac:spMkLst>
        </pc:spChg>
        <pc:spChg chg="del">
          <ac:chgData name="Benedikt Ströbl" userId="9f261c9f-df3c-4609-b41b-280d6b85a3b8" providerId="ADAL" clId="{B70BA807-D274-444D-A7AF-A116FBD82083}" dt="2022-11-30T13:18:22.777" v="10061" actId="478"/>
          <ac:spMkLst>
            <pc:docMk/>
            <pc:sldMk cId="4127775961" sldId="282"/>
            <ac:spMk id="13" creationId="{C7E01E58-42D5-4DF4-90AA-7B77A742D892}"/>
          </ac:spMkLst>
        </pc:spChg>
        <pc:spChg chg="del">
          <ac:chgData name="Benedikt Ströbl" userId="9f261c9f-df3c-4609-b41b-280d6b85a3b8" providerId="ADAL" clId="{B70BA807-D274-444D-A7AF-A116FBD82083}" dt="2022-11-30T13:18:22.777" v="10061" actId="478"/>
          <ac:spMkLst>
            <pc:docMk/>
            <pc:sldMk cId="4127775961" sldId="282"/>
            <ac:spMk id="16" creationId="{3B3A3D5F-8C8B-42A3-B62D-0F67B321B47F}"/>
          </ac:spMkLst>
        </pc:spChg>
        <pc:spChg chg="del">
          <ac:chgData name="Benedikt Ströbl" userId="9f261c9f-df3c-4609-b41b-280d6b85a3b8" providerId="ADAL" clId="{B70BA807-D274-444D-A7AF-A116FBD82083}" dt="2022-11-30T13:18:22.777" v="10061" actId="478"/>
          <ac:spMkLst>
            <pc:docMk/>
            <pc:sldMk cId="4127775961" sldId="282"/>
            <ac:spMk id="19" creationId="{C10E3EB7-73A7-4CE5-9878-E7346E76495C}"/>
          </ac:spMkLst>
        </pc:spChg>
        <pc:spChg chg="del">
          <ac:chgData name="Benedikt Ströbl" userId="9f261c9f-df3c-4609-b41b-280d6b85a3b8" providerId="ADAL" clId="{B70BA807-D274-444D-A7AF-A116FBD82083}" dt="2022-11-30T13:18:22.777" v="10061" actId="478"/>
          <ac:spMkLst>
            <pc:docMk/>
            <pc:sldMk cId="4127775961" sldId="282"/>
            <ac:spMk id="23" creationId="{D15ABF8F-E9A1-42F0-85D0-DEB4329FC793}"/>
          </ac:spMkLst>
        </pc:spChg>
        <pc:spChg chg="del">
          <ac:chgData name="Benedikt Ströbl" userId="9f261c9f-df3c-4609-b41b-280d6b85a3b8" providerId="ADAL" clId="{B70BA807-D274-444D-A7AF-A116FBD82083}" dt="2022-11-30T13:18:25.040" v="10062" actId="478"/>
          <ac:spMkLst>
            <pc:docMk/>
            <pc:sldMk cId="4127775961" sldId="282"/>
            <ac:spMk id="26" creationId="{386C6C5E-D824-4C85-8D47-30C7644395C8}"/>
          </ac:spMkLst>
        </pc:sp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5" creationId="{06A83071-3AB1-4E3D-8F82-E6667C918C7F}"/>
          </ac:picMkLst>
        </pc:picChg>
        <pc:picChg chg="add mod">
          <ac:chgData name="Benedikt Ströbl" userId="9f261c9f-df3c-4609-b41b-280d6b85a3b8" providerId="ADAL" clId="{B70BA807-D274-444D-A7AF-A116FBD82083}" dt="2022-11-30T13:21:10.734" v="10254" actId="1076"/>
          <ac:picMkLst>
            <pc:docMk/>
            <pc:sldMk cId="4127775961" sldId="282"/>
            <ac:picMk id="6" creationId="{C5A092B2-D710-E1C7-353E-A0D12D62D855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7" creationId="{A848AB8E-0196-431E-8554-32FC63309ABC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9" creationId="{D9EB3997-B49C-4074-876E-C0484789007C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10" creationId="{1861474A-84CD-41A0-B595-7649884CDC9E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11" creationId="{D6A2B0B8-45B3-4700-B6E8-AD6308ABE201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14" creationId="{A29FB39E-8759-4EFC-A95F-9BAD01F6228B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17" creationId="{35F6A25B-BA9E-4611-9B07-3CCDB3175E74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18" creationId="{5D04C013-A35E-457D-9ACC-18F041767259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20" creationId="{A2E79FFE-846E-4A1B-BD06-DB523E019163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21" creationId="{10DFF0A4-252D-4219-BD66-57B70ED27321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22" creationId="{5D6921E0-4692-49F9-B20D-7A491FA5F0C5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24" creationId="{3BE9985C-95C5-4F06-B52D-48EFCF1F9128}"/>
          </ac:picMkLst>
        </pc:picChg>
        <pc:picChg chg="del">
          <ac:chgData name="Benedikt Ströbl" userId="9f261c9f-df3c-4609-b41b-280d6b85a3b8" providerId="ADAL" clId="{B70BA807-D274-444D-A7AF-A116FBD82083}" dt="2022-11-30T13:18:22.777" v="10061" actId="478"/>
          <ac:picMkLst>
            <pc:docMk/>
            <pc:sldMk cId="4127775961" sldId="282"/>
            <ac:picMk id="25" creationId="{49795C8F-FD0E-484F-AB55-EB86B542E521}"/>
          </ac:picMkLst>
        </pc:picChg>
      </pc:sldChg>
      <pc:sldChg chg="addSp delSp modSp add mod modTransition">
        <pc:chgData name="Benedikt Ströbl" userId="9f261c9f-df3c-4609-b41b-280d6b85a3b8" providerId="ADAL" clId="{B70BA807-D274-444D-A7AF-A116FBD82083}" dt="2022-12-01T08:21:10.913" v="12216"/>
        <pc:sldMkLst>
          <pc:docMk/>
          <pc:sldMk cId="30689651" sldId="283"/>
        </pc:sldMkLst>
        <pc:spChg chg="mod">
          <ac:chgData name="Benedikt Ströbl" userId="9f261c9f-df3c-4609-b41b-280d6b85a3b8" providerId="ADAL" clId="{B70BA807-D274-444D-A7AF-A116FBD82083}" dt="2022-11-30T13:56:23.554" v="10662" actId="20577"/>
          <ac:spMkLst>
            <pc:docMk/>
            <pc:sldMk cId="30689651" sldId="283"/>
            <ac:spMk id="2" creationId="{F4BE81F6-DF96-4693-A4E8-E70870B8646C}"/>
          </ac:spMkLst>
        </pc:spChg>
        <pc:spChg chg="del">
          <ac:chgData name="Benedikt Ströbl" userId="9f261c9f-df3c-4609-b41b-280d6b85a3b8" providerId="ADAL" clId="{B70BA807-D274-444D-A7AF-A116FBD82083}" dt="2022-11-30T13:56:12.111" v="10652" actId="478"/>
          <ac:spMkLst>
            <pc:docMk/>
            <pc:sldMk cId="30689651" sldId="283"/>
            <ac:spMk id="8" creationId="{5D2B229C-F10F-DD76-E812-F0AF944F6BC2}"/>
          </ac:spMkLst>
        </pc:spChg>
        <pc:spChg chg="del">
          <ac:chgData name="Benedikt Ströbl" userId="9f261c9f-df3c-4609-b41b-280d6b85a3b8" providerId="ADAL" clId="{B70BA807-D274-444D-A7AF-A116FBD82083}" dt="2022-11-30T13:56:12.111" v="10652" actId="478"/>
          <ac:spMkLst>
            <pc:docMk/>
            <pc:sldMk cId="30689651" sldId="283"/>
            <ac:spMk id="12" creationId="{543E5B85-0FFA-9752-0499-C3EDB5B30541}"/>
          </ac:spMkLst>
        </pc:spChg>
        <pc:picChg chg="add mod">
          <ac:chgData name="Benedikt Ströbl" userId="9f261c9f-df3c-4609-b41b-280d6b85a3b8" providerId="ADAL" clId="{B70BA807-D274-444D-A7AF-A116FBD82083}" dt="2022-11-30T13:56:19.790" v="10655" actId="1076"/>
          <ac:picMkLst>
            <pc:docMk/>
            <pc:sldMk cId="30689651" sldId="283"/>
            <ac:picMk id="4" creationId="{FF27B324-BB12-DEDE-DB4C-9395ABCC2B0A}"/>
          </ac:picMkLst>
        </pc:picChg>
        <pc:picChg chg="del">
          <ac:chgData name="Benedikt Ströbl" userId="9f261c9f-df3c-4609-b41b-280d6b85a3b8" providerId="ADAL" clId="{B70BA807-D274-444D-A7AF-A116FBD82083}" dt="2022-11-30T13:34:46.519" v="10639" actId="478"/>
          <ac:picMkLst>
            <pc:docMk/>
            <pc:sldMk cId="30689651" sldId="283"/>
            <ac:picMk id="6" creationId="{C5A092B2-D710-E1C7-353E-A0D12D62D855}"/>
          </ac:picMkLst>
        </pc:picChg>
      </pc:sldChg>
      <pc:sldChg chg="add del">
        <pc:chgData name="Benedikt Ströbl" userId="9f261c9f-df3c-4609-b41b-280d6b85a3b8" providerId="ADAL" clId="{B70BA807-D274-444D-A7AF-A116FBD82083}" dt="2022-11-30T13:18:28.825" v="10064"/>
        <pc:sldMkLst>
          <pc:docMk/>
          <pc:sldMk cId="1125397222" sldId="283"/>
        </pc:sldMkLst>
      </pc:sldChg>
      <pc:sldChg chg="modSp add mod ord modTransition">
        <pc:chgData name="Benedikt Ströbl" userId="9f261c9f-df3c-4609-b41b-280d6b85a3b8" providerId="ADAL" clId="{B70BA807-D274-444D-A7AF-A116FBD82083}" dt="2022-12-01T08:21:10.010" v="12215"/>
        <pc:sldMkLst>
          <pc:docMk/>
          <pc:sldMk cId="2241641998" sldId="284"/>
        </pc:sldMkLst>
        <pc:spChg chg="mod">
          <ac:chgData name="Benedikt Ströbl" userId="9f261c9f-df3c-4609-b41b-280d6b85a3b8" providerId="ADAL" clId="{B70BA807-D274-444D-A7AF-A116FBD82083}" dt="2022-11-30T13:56:36.107" v="10684" actId="20577"/>
          <ac:spMkLst>
            <pc:docMk/>
            <pc:sldMk cId="2241641998" sldId="284"/>
            <ac:spMk id="2" creationId="{F4BE81F6-DF96-4693-A4E8-E70870B8646C}"/>
          </ac:spMkLst>
        </pc:spChg>
      </pc:sldChg>
      <pc:sldChg chg="addSp delSp modSp mod">
        <pc:chgData name="Benedikt Ströbl" userId="9f261c9f-df3c-4609-b41b-280d6b85a3b8" providerId="ADAL" clId="{B70BA807-D274-444D-A7AF-A116FBD82083}" dt="2022-11-30T14:47:43.500" v="10695" actId="21"/>
        <pc:sldMkLst>
          <pc:docMk/>
          <pc:sldMk cId="3465735930" sldId="287"/>
        </pc:sldMkLst>
        <pc:picChg chg="add del mod">
          <ac:chgData name="Benedikt Ströbl" userId="9f261c9f-df3c-4609-b41b-280d6b85a3b8" providerId="ADAL" clId="{B70BA807-D274-444D-A7AF-A116FBD82083}" dt="2022-11-30T14:46:55.911" v="10692" actId="478"/>
          <ac:picMkLst>
            <pc:docMk/>
            <pc:sldMk cId="3465735930" sldId="287"/>
            <ac:picMk id="10" creationId="{D050176C-E19B-9955-C9F8-42E597134C86}"/>
          </ac:picMkLst>
        </pc:picChg>
        <pc:picChg chg="add del mod">
          <ac:chgData name="Benedikt Ströbl" userId="9f261c9f-df3c-4609-b41b-280d6b85a3b8" providerId="ADAL" clId="{B70BA807-D274-444D-A7AF-A116FBD82083}" dt="2022-11-30T14:47:43.500" v="10695" actId="21"/>
          <ac:picMkLst>
            <pc:docMk/>
            <pc:sldMk cId="3465735930" sldId="287"/>
            <ac:picMk id="12" creationId="{E7A075B2-C229-BFD9-25F4-7DA2EB16A6C9}"/>
          </ac:picMkLst>
        </pc:picChg>
      </pc:sldChg>
      <pc:sldChg chg="modSp mod modTransition">
        <pc:chgData name="Benedikt Ströbl" userId="9f261c9f-df3c-4609-b41b-280d6b85a3b8" providerId="ADAL" clId="{B70BA807-D274-444D-A7AF-A116FBD82083}" dt="2022-12-01T08:22:38.605" v="12272" actId="20577"/>
        <pc:sldMkLst>
          <pc:docMk/>
          <pc:sldMk cId="3288015226" sldId="289"/>
        </pc:sldMkLst>
        <pc:spChg chg="mod">
          <ac:chgData name="Benedikt Ströbl" userId="9f261c9f-df3c-4609-b41b-280d6b85a3b8" providerId="ADAL" clId="{B70BA807-D274-444D-A7AF-A116FBD82083}" dt="2022-12-01T08:22:38.605" v="12272" actId="20577"/>
          <ac:spMkLst>
            <pc:docMk/>
            <pc:sldMk cId="3288015226" sldId="289"/>
            <ac:spMk id="2" creationId="{91958196-E9F6-4665-B7A5-739B36D9A4F1}"/>
          </ac:spMkLst>
        </pc:spChg>
        <pc:spChg chg="mod">
          <ac:chgData name="Benedikt Ströbl" userId="9f261c9f-df3c-4609-b41b-280d6b85a3b8" providerId="ADAL" clId="{B70BA807-D274-444D-A7AF-A116FBD82083}" dt="2022-11-30T15:32:14.876" v="11986" actId="1037"/>
          <ac:spMkLst>
            <pc:docMk/>
            <pc:sldMk cId="3288015226" sldId="289"/>
            <ac:spMk id="6" creationId="{D37B1A97-BC45-299C-7ECF-8CF5B435AC11}"/>
          </ac:spMkLst>
        </pc:spChg>
        <pc:cxnChg chg="mod">
          <ac:chgData name="Benedikt Ströbl" userId="9f261c9f-df3c-4609-b41b-280d6b85a3b8" providerId="ADAL" clId="{B70BA807-D274-444D-A7AF-A116FBD82083}" dt="2022-11-30T15:32:20.274" v="11987" actId="14100"/>
          <ac:cxnSpMkLst>
            <pc:docMk/>
            <pc:sldMk cId="3288015226" sldId="289"/>
            <ac:cxnSpMk id="7" creationId="{FD4BB7D4-5EB0-1513-E25C-26F0862FB7C5}"/>
          </ac:cxnSpMkLst>
        </pc:cxnChg>
      </pc:sldChg>
      <pc:sldChg chg="modSp mod modTransition">
        <pc:chgData name="Benedikt Ströbl" userId="9f261c9f-df3c-4609-b41b-280d6b85a3b8" providerId="ADAL" clId="{B70BA807-D274-444D-A7AF-A116FBD82083}" dt="2022-12-01T08:21:02.397" v="12210"/>
        <pc:sldMkLst>
          <pc:docMk/>
          <pc:sldMk cId="3575767116" sldId="291"/>
        </pc:sldMkLst>
        <pc:picChg chg="mod">
          <ac:chgData name="Benedikt Ströbl" userId="9f261c9f-df3c-4609-b41b-280d6b85a3b8" providerId="ADAL" clId="{B70BA807-D274-444D-A7AF-A116FBD82083}" dt="2022-11-30T15:29:18.332" v="11958" actId="1037"/>
          <ac:picMkLst>
            <pc:docMk/>
            <pc:sldMk cId="3575767116" sldId="291"/>
            <ac:picMk id="5" creationId="{8BF5FFBC-CDB0-5892-096F-038DB8DA9BEC}"/>
          </ac:picMkLst>
        </pc:picChg>
      </pc:sldChg>
      <pc:sldChg chg="addSp delSp modSp mod modTransition">
        <pc:chgData name="Benedikt Ströbl" userId="9f261c9f-df3c-4609-b41b-280d6b85a3b8" providerId="ADAL" clId="{B70BA807-D274-444D-A7AF-A116FBD82083}" dt="2022-12-01T08:22:50.829" v="12273"/>
        <pc:sldMkLst>
          <pc:docMk/>
          <pc:sldMk cId="3045615626" sldId="298"/>
        </pc:sldMkLst>
        <pc:spChg chg="del mod">
          <ac:chgData name="Benedikt Ströbl" userId="9f261c9f-df3c-4609-b41b-280d6b85a3b8" providerId="ADAL" clId="{B70BA807-D274-444D-A7AF-A116FBD82083}" dt="2022-11-30T16:25:22.738" v="12154" actId="478"/>
          <ac:spMkLst>
            <pc:docMk/>
            <pc:sldMk cId="3045615626" sldId="298"/>
            <ac:spMk id="2" creationId="{91958196-E9F6-4665-B7A5-739B36D9A4F1}"/>
          </ac:spMkLst>
        </pc:spChg>
        <pc:spChg chg="add del mod">
          <ac:chgData name="Benedikt Ströbl" userId="9f261c9f-df3c-4609-b41b-280d6b85a3b8" providerId="ADAL" clId="{B70BA807-D274-444D-A7AF-A116FBD82083}" dt="2022-11-30T16:25:28.677" v="12156" actId="478"/>
          <ac:spMkLst>
            <pc:docMk/>
            <pc:sldMk cId="3045615626" sldId="298"/>
            <ac:spMk id="6" creationId="{2788B89A-04BD-0F4E-4C68-2F6FB226A64F}"/>
          </ac:spMkLst>
        </pc:spChg>
        <pc:spChg chg="add mod">
          <ac:chgData name="Benedikt Ströbl" userId="9f261c9f-df3c-4609-b41b-280d6b85a3b8" providerId="ADAL" clId="{B70BA807-D274-444D-A7AF-A116FBD82083}" dt="2022-12-01T08:22:50.829" v="12273"/>
          <ac:spMkLst>
            <pc:docMk/>
            <pc:sldMk cId="3045615626" sldId="298"/>
            <ac:spMk id="8" creationId="{95591523-DCEF-DAB6-3058-6D25310F47FE}"/>
          </ac:spMkLst>
        </pc:spChg>
      </pc:sldChg>
      <pc:sldChg chg="addSp delSp modSp mod modTransition">
        <pc:chgData name="Benedikt Ströbl" userId="9f261c9f-df3c-4609-b41b-280d6b85a3b8" providerId="ADAL" clId="{B70BA807-D274-444D-A7AF-A116FBD82083}" dt="2022-12-01T08:22:53.877" v="12274"/>
        <pc:sldMkLst>
          <pc:docMk/>
          <pc:sldMk cId="809874930" sldId="299"/>
        </pc:sldMkLst>
        <pc:spChg chg="mod">
          <ac:chgData name="Benedikt Ströbl" userId="9f261c9f-df3c-4609-b41b-280d6b85a3b8" providerId="ADAL" clId="{B70BA807-D274-444D-A7AF-A116FBD82083}" dt="2022-12-01T08:22:53.877" v="12274"/>
          <ac:spMkLst>
            <pc:docMk/>
            <pc:sldMk cId="809874930" sldId="299"/>
            <ac:spMk id="2" creationId="{91958196-E9F6-4665-B7A5-739B36D9A4F1}"/>
          </ac:spMkLst>
        </pc:spChg>
        <pc:spChg chg="add del mod">
          <ac:chgData name="Benedikt Ströbl" userId="9f261c9f-df3c-4609-b41b-280d6b85a3b8" providerId="ADAL" clId="{B70BA807-D274-444D-A7AF-A116FBD82083}" dt="2022-11-30T16:25:41.133" v="12158"/>
          <ac:spMkLst>
            <pc:docMk/>
            <pc:sldMk cId="809874930" sldId="299"/>
            <ac:spMk id="4" creationId="{8984C99E-BA67-4782-C573-EF7B2B1D95D6}"/>
          </ac:spMkLst>
        </pc:spChg>
      </pc:sldChg>
      <pc:sldChg chg="modSp mod modTransition">
        <pc:chgData name="Benedikt Ströbl" userId="9f261c9f-df3c-4609-b41b-280d6b85a3b8" providerId="ADAL" clId="{B70BA807-D274-444D-A7AF-A116FBD82083}" dt="2022-12-01T08:22:57.151" v="12275"/>
        <pc:sldMkLst>
          <pc:docMk/>
          <pc:sldMk cId="2226923456" sldId="300"/>
        </pc:sldMkLst>
        <pc:spChg chg="mod">
          <ac:chgData name="Benedikt Ströbl" userId="9f261c9f-df3c-4609-b41b-280d6b85a3b8" providerId="ADAL" clId="{B70BA807-D274-444D-A7AF-A116FBD82083}" dt="2022-12-01T08:22:57.151" v="12275"/>
          <ac:spMkLst>
            <pc:docMk/>
            <pc:sldMk cId="2226923456" sldId="300"/>
            <ac:spMk id="2" creationId="{91958196-E9F6-4665-B7A5-739B36D9A4F1}"/>
          </ac:spMkLst>
        </pc:spChg>
        <pc:spChg chg="mod">
          <ac:chgData name="Benedikt Ströbl" userId="9f261c9f-df3c-4609-b41b-280d6b85a3b8" providerId="ADAL" clId="{B70BA807-D274-444D-A7AF-A116FBD82083}" dt="2022-11-30T15:51:06.755" v="12012" actId="113"/>
          <ac:spMkLst>
            <pc:docMk/>
            <pc:sldMk cId="2226923456" sldId="300"/>
            <ac:spMk id="4" creationId="{FA99074E-E8A4-A047-24A3-8A9BD7B7246A}"/>
          </ac:spMkLst>
        </pc:spChg>
      </pc:sldChg>
      <pc:sldChg chg="modSp mod modTransition">
        <pc:chgData name="Benedikt Ströbl" userId="9f261c9f-df3c-4609-b41b-280d6b85a3b8" providerId="ADAL" clId="{B70BA807-D274-444D-A7AF-A116FBD82083}" dt="2022-12-01T08:23:17.690" v="12298" actId="27636"/>
        <pc:sldMkLst>
          <pc:docMk/>
          <pc:sldMk cId="953872542" sldId="302"/>
        </pc:sldMkLst>
        <pc:spChg chg="mod">
          <ac:chgData name="Benedikt Ströbl" userId="9f261c9f-df3c-4609-b41b-280d6b85a3b8" providerId="ADAL" clId="{B70BA807-D274-444D-A7AF-A116FBD82083}" dt="2022-12-01T08:23:17.690" v="12298" actId="27636"/>
          <ac:spMkLst>
            <pc:docMk/>
            <pc:sldMk cId="953872542" sldId="302"/>
            <ac:spMk id="2" creationId="{91958196-E9F6-4665-B7A5-739B36D9A4F1}"/>
          </ac:spMkLst>
        </pc:spChg>
      </pc:sldChg>
      <pc:sldChg chg="addSp delSp modSp add mod modTransition">
        <pc:chgData name="Benedikt Ströbl" userId="9f261c9f-df3c-4609-b41b-280d6b85a3b8" providerId="ADAL" clId="{B70BA807-D274-444D-A7AF-A116FBD82083}" dt="2022-12-01T08:21:11.906" v="12217"/>
        <pc:sldMkLst>
          <pc:docMk/>
          <pc:sldMk cId="4054406853" sldId="303"/>
        </pc:sldMkLst>
        <pc:spChg chg="mod">
          <ac:chgData name="Benedikt Ströbl" userId="9f261c9f-df3c-4609-b41b-280d6b85a3b8" providerId="ADAL" clId="{B70BA807-D274-444D-A7AF-A116FBD82083}" dt="2022-11-30T15:55:55.894" v="12080" actId="20577"/>
          <ac:spMkLst>
            <pc:docMk/>
            <pc:sldMk cId="4054406853" sldId="303"/>
            <ac:spMk id="2" creationId="{F4BE81F6-DF96-4693-A4E8-E70870B8646C}"/>
          </ac:spMkLst>
        </pc:spChg>
        <pc:spChg chg="add del">
          <ac:chgData name="Benedikt Ströbl" userId="9f261c9f-df3c-4609-b41b-280d6b85a3b8" providerId="ADAL" clId="{B70BA807-D274-444D-A7AF-A116FBD82083}" dt="2022-11-30T15:55:32.251" v="12022" actId="478"/>
          <ac:spMkLst>
            <pc:docMk/>
            <pc:sldMk cId="4054406853" sldId="303"/>
            <ac:spMk id="3" creationId="{99C63BEA-3198-FB9D-6E62-AD84ECB71975}"/>
          </ac:spMkLst>
        </pc:spChg>
        <pc:picChg chg="del">
          <ac:chgData name="Benedikt Ströbl" userId="9f261c9f-df3c-4609-b41b-280d6b85a3b8" providerId="ADAL" clId="{B70BA807-D274-444D-A7AF-A116FBD82083}" dt="2022-11-30T15:55:07.660" v="12020" actId="478"/>
          <ac:picMkLst>
            <pc:docMk/>
            <pc:sldMk cId="4054406853" sldId="303"/>
            <ac:picMk id="4" creationId="{FF27B324-BB12-DEDE-DB4C-9395ABCC2B0A}"/>
          </ac:picMkLst>
        </pc:picChg>
        <pc:picChg chg="add mod">
          <ac:chgData name="Benedikt Ströbl" userId="9f261c9f-df3c-4609-b41b-280d6b85a3b8" providerId="ADAL" clId="{B70BA807-D274-444D-A7AF-A116FBD82083}" dt="2022-11-30T15:55:38.364" v="12027" actId="14100"/>
          <ac:picMkLst>
            <pc:docMk/>
            <pc:sldMk cId="4054406853" sldId="303"/>
            <ac:picMk id="6" creationId="{CD06644B-DB40-83D6-A409-B89D22F59587}"/>
          </ac:picMkLst>
        </pc:picChg>
      </pc:sldChg>
      <pc:sldChg chg="modSp mod modTransition">
        <pc:chgData name="Benedikt Ströbl" userId="9f261c9f-df3c-4609-b41b-280d6b85a3b8" providerId="ADAL" clId="{B70BA807-D274-444D-A7AF-A116FBD82083}" dt="2022-12-01T08:23:00.494" v="12276"/>
        <pc:sldMkLst>
          <pc:docMk/>
          <pc:sldMk cId="3272554989" sldId="304"/>
        </pc:sldMkLst>
        <pc:spChg chg="mod">
          <ac:chgData name="Benedikt Ströbl" userId="9f261c9f-df3c-4609-b41b-280d6b85a3b8" providerId="ADAL" clId="{B70BA807-D274-444D-A7AF-A116FBD82083}" dt="2022-12-01T08:23:00.494" v="12276"/>
          <ac:spMkLst>
            <pc:docMk/>
            <pc:sldMk cId="3272554989" sldId="304"/>
            <ac:spMk id="2" creationId="{91958196-E9F6-4665-B7A5-739B36D9A4F1}"/>
          </ac:spMkLst>
        </pc:spChg>
      </pc:sldChg>
      <pc:sldChg chg="modSp mod modTransition">
        <pc:chgData name="Benedikt Ströbl" userId="9f261c9f-df3c-4609-b41b-280d6b85a3b8" providerId="ADAL" clId="{B70BA807-D274-444D-A7AF-A116FBD82083}" dt="2022-12-01T08:23:03.688" v="12277"/>
        <pc:sldMkLst>
          <pc:docMk/>
          <pc:sldMk cId="1980409040" sldId="305"/>
        </pc:sldMkLst>
        <pc:spChg chg="mod">
          <ac:chgData name="Benedikt Ströbl" userId="9f261c9f-df3c-4609-b41b-280d6b85a3b8" providerId="ADAL" clId="{B70BA807-D274-444D-A7AF-A116FBD82083}" dt="2022-12-01T08:23:03.688" v="12277"/>
          <ac:spMkLst>
            <pc:docMk/>
            <pc:sldMk cId="1980409040" sldId="305"/>
            <ac:spMk id="2" creationId="{91958196-E9F6-4665-B7A5-739B36D9A4F1}"/>
          </ac:spMkLst>
        </pc:spChg>
      </pc:sldChg>
      <pc:sldChg chg="modSp mod modTransition">
        <pc:chgData name="Benedikt Ströbl" userId="9f261c9f-df3c-4609-b41b-280d6b85a3b8" providerId="ADAL" clId="{B70BA807-D274-444D-A7AF-A116FBD82083}" dt="2022-12-01T08:23:06.448" v="12278"/>
        <pc:sldMkLst>
          <pc:docMk/>
          <pc:sldMk cId="1221985042" sldId="306"/>
        </pc:sldMkLst>
        <pc:spChg chg="mod">
          <ac:chgData name="Benedikt Ströbl" userId="9f261c9f-df3c-4609-b41b-280d6b85a3b8" providerId="ADAL" clId="{B70BA807-D274-444D-A7AF-A116FBD82083}" dt="2022-12-01T08:23:06.448" v="12278"/>
          <ac:spMkLst>
            <pc:docMk/>
            <pc:sldMk cId="1221985042" sldId="306"/>
            <ac:spMk id="2" creationId="{91958196-E9F6-4665-B7A5-739B36D9A4F1}"/>
          </ac:spMkLst>
        </pc:spChg>
      </pc:sldChg>
      <pc:sldChg chg="modTransition">
        <pc:chgData name="Benedikt Ströbl" userId="9f261c9f-df3c-4609-b41b-280d6b85a3b8" providerId="ADAL" clId="{B70BA807-D274-444D-A7AF-A116FBD82083}" dt="2022-12-01T08:21:20.834" v="12225"/>
        <pc:sldMkLst>
          <pc:docMk/>
          <pc:sldMk cId="1713150586" sldId="307"/>
        </pc:sldMkLst>
      </pc:sldChg>
      <pc:sldMasterChg chg="addSp delSp modSp mod modSldLayout">
        <pc:chgData name="Benedikt Ströbl" userId="9f261c9f-df3c-4609-b41b-280d6b85a3b8" providerId="ADAL" clId="{B70BA807-D274-444D-A7AF-A116FBD82083}" dt="2022-11-30T08:08:03.604" v="1133" actId="1076"/>
        <pc:sldMasterMkLst>
          <pc:docMk/>
          <pc:sldMasterMk cId="1126694217" sldId="2147483660"/>
        </pc:sldMasterMkLst>
        <pc:spChg chg="mod">
          <ac:chgData name="Benedikt Ströbl" userId="9f261c9f-df3c-4609-b41b-280d6b85a3b8" providerId="ADAL" clId="{B70BA807-D274-444D-A7AF-A116FBD82083}" dt="2022-11-30T08:04:37.954" v="1113" actId="2711"/>
          <ac:spMkLst>
            <pc:docMk/>
            <pc:sldMasterMk cId="1126694217" sldId="2147483660"/>
            <ac:spMk id="4" creationId="{7E7BF57E-C54B-4141-B3CA-2097E56F4F5B}"/>
          </ac:spMkLst>
        </pc:spChg>
        <pc:spChg chg="mod">
          <ac:chgData name="Benedikt Ströbl" userId="9f261c9f-df3c-4609-b41b-280d6b85a3b8" providerId="ADAL" clId="{B70BA807-D274-444D-A7AF-A116FBD82083}" dt="2022-11-30T08:04:49.005" v="1117" actId="404"/>
          <ac:spMkLst>
            <pc:docMk/>
            <pc:sldMasterMk cId="1126694217" sldId="2147483660"/>
            <ac:spMk id="6" creationId="{DD2868D7-E0F9-463C-A016-75E75FF5A337}"/>
          </ac:spMkLst>
        </pc:spChg>
        <pc:picChg chg="del">
          <ac:chgData name="Benedikt Ströbl" userId="9f261c9f-df3c-4609-b41b-280d6b85a3b8" providerId="ADAL" clId="{B70BA807-D274-444D-A7AF-A116FBD82083}" dt="2022-11-28T08:53:28.521" v="0" actId="478"/>
          <ac:picMkLst>
            <pc:docMk/>
            <pc:sldMasterMk cId="1126694217" sldId="2147483660"/>
            <ac:picMk id="8" creationId="{1643E615-7299-4833-94F6-F32BC7A52849}"/>
          </ac:picMkLst>
        </pc:picChg>
        <pc:picChg chg="add del mod">
          <ac:chgData name="Benedikt Ströbl" userId="9f261c9f-df3c-4609-b41b-280d6b85a3b8" providerId="ADAL" clId="{B70BA807-D274-444D-A7AF-A116FBD82083}" dt="2022-11-30T08:07:33.041" v="1129" actId="478"/>
          <ac:picMkLst>
            <pc:docMk/>
            <pc:sldMasterMk cId="1126694217" sldId="2147483660"/>
            <ac:picMk id="9" creationId="{DD38FB4F-6186-33EB-7EE0-0D25BA6217D6}"/>
          </ac:picMkLst>
        </pc:picChg>
        <pc:picChg chg="add mod">
          <ac:chgData name="Benedikt Ströbl" userId="9f261c9f-df3c-4609-b41b-280d6b85a3b8" providerId="ADAL" clId="{B70BA807-D274-444D-A7AF-A116FBD82083}" dt="2022-11-30T08:08:03.604" v="1133" actId="1076"/>
          <ac:picMkLst>
            <pc:docMk/>
            <pc:sldMasterMk cId="1126694217" sldId="2147483660"/>
            <ac:picMk id="11" creationId="{CB465A9A-ABF0-7572-4C17-23B09A279930}"/>
          </ac:picMkLst>
        </pc:picChg>
        <pc:sldLayoutChg chg="modSp mod">
          <pc:chgData name="Benedikt Ströbl" userId="9f261c9f-df3c-4609-b41b-280d6b85a3b8" providerId="ADAL" clId="{B70BA807-D274-444D-A7AF-A116FBD82083}" dt="2022-11-30T08:03:53.585" v="1108" actId="1076"/>
          <pc:sldLayoutMkLst>
            <pc:docMk/>
            <pc:sldMasterMk cId="1126694217" sldId="2147483660"/>
            <pc:sldLayoutMk cId="4081160080" sldId="2147483662"/>
          </pc:sldLayoutMkLst>
          <pc:spChg chg="mod">
            <ac:chgData name="Benedikt Ströbl" userId="9f261c9f-df3c-4609-b41b-280d6b85a3b8" providerId="ADAL" clId="{B70BA807-D274-444D-A7AF-A116FBD82083}" dt="2022-11-30T08:03:53.585" v="1108" actId="1076"/>
            <ac:spMkLst>
              <pc:docMk/>
              <pc:sldMasterMk cId="1126694217" sldId="2147483660"/>
              <pc:sldLayoutMk cId="4081160080" sldId="2147483662"/>
              <ac:spMk id="6" creationId="{81BE70D2-DB21-4665-921E-683EE3CE1A5E}"/>
            </ac:spMkLst>
          </pc:spChg>
        </pc:sldLayoutChg>
      </pc:sldMasterChg>
    </pc:docChg>
  </pc:docChgLst>
  <pc:docChgLst>
    <pc:chgData name="Ma Adelle Gia Arbo" userId="055e108b-22f7-41f4-922b-97c391a55aca" providerId="ADAL" clId="{9DE17D58-76D1-49B3-B4D5-38904B465528}"/>
    <pc:docChg chg="undo custSel addSld delSld modSld sldOrd">
      <pc:chgData name="Ma Adelle Gia Arbo" userId="055e108b-22f7-41f4-922b-97c391a55aca" providerId="ADAL" clId="{9DE17D58-76D1-49B3-B4D5-38904B465528}" dt="2022-11-30T16:37:26.819" v="1565" actId="14100"/>
      <pc:docMkLst>
        <pc:docMk/>
      </pc:docMkLst>
      <pc:sldChg chg="addSp delSp mod">
        <pc:chgData name="Ma Adelle Gia Arbo" userId="055e108b-22f7-41f4-922b-97c391a55aca" providerId="ADAL" clId="{9DE17D58-76D1-49B3-B4D5-38904B465528}" dt="2022-11-30T13:55:38.866" v="62" actId="21"/>
        <pc:sldMkLst>
          <pc:docMk/>
          <pc:sldMk cId="4163832818" sldId="277"/>
        </pc:sldMkLst>
        <pc:spChg chg="add del">
          <ac:chgData name="Ma Adelle Gia Arbo" userId="055e108b-22f7-41f4-922b-97c391a55aca" providerId="ADAL" clId="{9DE17D58-76D1-49B3-B4D5-38904B465528}" dt="2022-11-30T13:55:38.866" v="62" actId="21"/>
          <ac:spMkLst>
            <pc:docMk/>
            <pc:sldMk cId="4163832818" sldId="277"/>
            <ac:spMk id="12" creationId="{1B33B243-587F-53B4-9F7A-9649928A61A8}"/>
          </ac:spMkLst>
        </pc:spChg>
      </pc:sldChg>
      <pc:sldChg chg="addSp delSp modSp mod">
        <pc:chgData name="Ma Adelle Gia Arbo" userId="055e108b-22f7-41f4-922b-97c391a55aca" providerId="ADAL" clId="{9DE17D58-76D1-49B3-B4D5-38904B465528}" dt="2022-11-30T16:37:26.819" v="1565" actId="14100"/>
        <pc:sldMkLst>
          <pc:docMk/>
          <pc:sldMk cId="3814695085" sldId="278"/>
        </pc:sldMkLst>
        <pc:spChg chg="add mod">
          <ac:chgData name="Ma Adelle Gia Arbo" userId="055e108b-22f7-41f4-922b-97c391a55aca" providerId="ADAL" clId="{9DE17D58-76D1-49B3-B4D5-38904B465528}" dt="2022-11-30T15:42:56.212" v="1264" actId="1076"/>
          <ac:spMkLst>
            <pc:docMk/>
            <pc:sldMk cId="3814695085" sldId="278"/>
            <ac:spMk id="6" creationId="{7E300D45-CC37-34EE-FE08-331A2CAF9FF5}"/>
          </ac:spMkLst>
        </pc:spChg>
        <pc:spChg chg="add mod">
          <ac:chgData name="Ma Adelle Gia Arbo" userId="055e108b-22f7-41f4-922b-97c391a55aca" providerId="ADAL" clId="{9DE17D58-76D1-49B3-B4D5-38904B465528}" dt="2022-11-30T15:43:17.048" v="1268" actId="20577"/>
          <ac:spMkLst>
            <pc:docMk/>
            <pc:sldMk cId="3814695085" sldId="278"/>
            <ac:spMk id="8" creationId="{E900D59F-83F3-4014-A7B2-02749A9AFEC8}"/>
          </ac:spMkLst>
        </pc:spChg>
        <pc:spChg chg="add mod">
          <ac:chgData name="Ma Adelle Gia Arbo" userId="055e108b-22f7-41f4-922b-97c391a55aca" providerId="ADAL" clId="{9DE17D58-76D1-49B3-B4D5-38904B465528}" dt="2022-11-30T15:43:26.031" v="1269" actId="14100"/>
          <ac:spMkLst>
            <pc:docMk/>
            <pc:sldMk cId="3814695085" sldId="278"/>
            <ac:spMk id="9" creationId="{7FC8AC36-806B-5158-BD24-B73B063D6490}"/>
          </ac:spMkLst>
        </pc:spChg>
        <pc:spChg chg="add mod">
          <ac:chgData name="Ma Adelle Gia Arbo" userId="055e108b-22f7-41f4-922b-97c391a55aca" providerId="ADAL" clId="{9DE17D58-76D1-49B3-B4D5-38904B465528}" dt="2022-11-30T16:22:15.646" v="1459" actId="1076"/>
          <ac:spMkLst>
            <pc:docMk/>
            <pc:sldMk cId="3814695085" sldId="278"/>
            <ac:spMk id="23" creationId="{4A2947A2-B7D6-655B-EAE6-DFC11465FA83}"/>
          </ac:spMkLst>
        </pc:spChg>
        <pc:spChg chg="add mod">
          <ac:chgData name="Ma Adelle Gia Arbo" userId="055e108b-22f7-41f4-922b-97c391a55aca" providerId="ADAL" clId="{9DE17D58-76D1-49B3-B4D5-38904B465528}" dt="2022-11-30T16:22:52.954" v="1461" actId="1076"/>
          <ac:spMkLst>
            <pc:docMk/>
            <pc:sldMk cId="3814695085" sldId="278"/>
            <ac:spMk id="25" creationId="{2A55CE9A-D6AF-5A68-DED9-03AF4613452B}"/>
          </ac:spMkLst>
        </pc:spChg>
        <pc:spChg chg="add mod">
          <ac:chgData name="Ma Adelle Gia Arbo" userId="055e108b-22f7-41f4-922b-97c391a55aca" providerId="ADAL" clId="{9DE17D58-76D1-49B3-B4D5-38904B465528}" dt="2022-11-30T16:37:26.819" v="1565" actId="14100"/>
          <ac:spMkLst>
            <pc:docMk/>
            <pc:sldMk cId="3814695085" sldId="278"/>
            <ac:spMk id="26" creationId="{60CABC3D-59FD-FED8-3242-AE18BED28499}"/>
          </ac:spMkLst>
        </pc:spChg>
        <pc:picChg chg="mod">
          <ac:chgData name="Ma Adelle Gia Arbo" userId="055e108b-22f7-41f4-922b-97c391a55aca" providerId="ADAL" clId="{9DE17D58-76D1-49B3-B4D5-38904B465528}" dt="2022-11-30T15:18:06.581" v="1102" actId="1076"/>
          <ac:picMkLst>
            <pc:docMk/>
            <pc:sldMk cId="3814695085" sldId="278"/>
            <ac:picMk id="4" creationId="{8ED8D58A-DFE5-3025-A058-ECB0CB65B38D}"/>
          </ac:picMkLst>
        </pc:picChg>
        <pc:picChg chg="add del mod">
          <ac:chgData name="Ma Adelle Gia Arbo" userId="055e108b-22f7-41f4-922b-97c391a55aca" providerId="ADAL" clId="{9DE17D58-76D1-49B3-B4D5-38904B465528}" dt="2022-11-30T13:41:50.834" v="5" actId="478"/>
          <ac:picMkLst>
            <pc:docMk/>
            <pc:sldMk cId="3814695085" sldId="278"/>
            <ac:picMk id="5" creationId="{8A471577-E086-1484-6510-115A2F61F7FF}"/>
          </ac:picMkLst>
        </pc:picChg>
        <pc:cxnChg chg="add mod">
          <ac:chgData name="Ma Adelle Gia Arbo" userId="055e108b-22f7-41f4-922b-97c391a55aca" providerId="ADAL" clId="{9DE17D58-76D1-49B3-B4D5-38904B465528}" dt="2022-11-30T15:43:26.031" v="1269" actId="14100"/>
          <ac:cxnSpMkLst>
            <pc:docMk/>
            <pc:sldMk cId="3814695085" sldId="278"/>
            <ac:cxnSpMk id="10" creationId="{010A8F32-F5B9-BE4F-4E1A-F8C9EC1D9DD7}"/>
          </ac:cxnSpMkLst>
        </pc:cxnChg>
        <pc:cxnChg chg="add mod">
          <ac:chgData name="Ma Adelle Gia Arbo" userId="055e108b-22f7-41f4-922b-97c391a55aca" providerId="ADAL" clId="{9DE17D58-76D1-49B3-B4D5-38904B465528}" dt="2022-11-30T15:17:56.001" v="1100" actId="1076"/>
          <ac:cxnSpMkLst>
            <pc:docMk/>
            <pc:sldMk cId="3814695085" sldId="278"/>
            <ac:cxnSpMk id="11" creationId="{D50CA48D-E99E-5B5D-9BE4-EDB3633E02D7}"/>
          </ac:cxnSpMkLst>
        </pc:cxnChg>
        <pc:cxnChg chg="add mod">
          <ac:chgData name="Ma Adelle Gia Arbo" userId="055e108b-22f7-41f4-922b-97c391a55aca" providerId="ADAL" clId="{9DE17D58-76D1-49B3-B4D5-38904B465528}" dt="2022-11-30T16:22:15.646" v="1459" actId="1076"/>
          <ac:cxnSpMkLst>
            <pc:docMk/>
            <pc:sldMk cId="3814695085" sldId="278"/>
            <ac:cxnSpMk id="22" creationId="{C227994B-3BD1-33CC-C534-669C8AF93580}"/>
          </ac:cxnSpMkLst>
        </pc:cxnChg>
        <pc:cxnChg chg="add mod">
          <ac:chgData name="Ma Adelle Gia Arbo" userId="055e108b-22f7-41f4-922b-97c391a55aca" providerId="ADAL" clId="{9DE17D58-76D1-49B3-B4D5-38904B465528}" dt="2022-11-30T16:22:52.954" v="1461" actId="1076"/>
          <ac:cxnSpMkLst>
            <pc:docMk/>
            <pc:sldMk cId="3814695085" sldId="278"/>
            <ac:cxnSpMk id="24" creationId="{EED7590E-3C2C-44DD-4495-FF0B2FD948C0}"/>
          </ac:cxnSpMkLst>
        </pc:cxnChg>
      </pc:sldChg>
      <pc:sldChg chg="addSp modSp add mod">
        <pc:chgData name="Ma Adelle Gia Arbo" userId="055e108b-22f7-41f4-922b-97c391a55aca" providerId="ADAL" clId="{9DE17D58-76D1-49B3-B4D5-38904B465528}" dt="2022-11-30T13:56:21.321" v="121"/>
        <pc:sldMkLst>
          <pc:docMk/>
          <pc:sldMk cId="3465735930" sldId="281"/>
        </pc:sldMkLst>
        <pc:spChg chg="mod">
          <ac:chgData name="Ma Adelle Gia Arbo" userId="055e108b-22f7-41f4-922b-97c391a55aca" providerId="ADAL" clId="{9DE17D58-76D1-49B3-B4D5-38904B465528}" dt="2022-11-30T13:56:21.321" v="121"/>
          <ac:spMkLst>
            <pc:docMk/>
            <pc:sldMk cId="3465735930" sldId="281"/>
            <ac:spMk id="2" creationId="{91958196-E9F6-4665-B7A5-739B36D9A4F1}"/>
          </ac:spMkLst>
        </pc:spChg>
        <pc:spChg chg="add mod">
          <ac:chgData name="Ma Adelle Gia Arbo" userId="055e108b-22f7-41f4-922b-97c391a55aca" providerId="ADAL" clId="{9DE17D58-76D1-49B3-B4D5-38904B465528}" dt="2022-11-30T13:56:09.453" v="119" actId="20577"/>
          <ac:spMkLst>
            <pc:docMk/>
            <pc:sldMk cId="3465735930" sldId="281"/>
            <ac:spMk id="4" creationId="{CC0AF648-CEC4-0863-6083-DD6C7E137A17}"/>
          </ac:spMkLst>
        </pc:spChg>
        <pc:picChg chg="mod">
          <ac:chgData name="Ma Adelle Gia Arbo" userId="055e108b-22f7-41f4-922b-97c391a55aca" providerId="ADAL" clId="{9DE17D58-76D1-49B3-B4D5-38904B465528}" dt="2022-11-30T13:56:12.278" v="120" actId="1076"/>
          <ac:picMkLst>
            <pc:docMk/>
            <pc:sldMk cId="3465735930" sldId="281"/>
            <ac:picMk id="5" creationId="{8A471577-E086-1484-6510-115A2F61F7FF}"/>
          </ac:picMkLst>
        </pc:picChg>
      </pc:sldChg>
      <pc:sldChg chg="addSp modSp mod">
        <pc:chgData name="Ma Adelle Gia Arbo" userId="055e108b-22f7-41f4-922b-97c391a55aca" providerId="ADAL" clId="{9DE17D58-76D1-49B3-B4D5-38904B465528}" dt="2022-11-30T14:15:01.513" v="540" actId="5793"/>
        <pc:sldMkLst>
          <pc:docMk/>
          <pc:sldMk cId="3465735930" sldId="284"/>
        </pc:sldMkLst>
        <pc:spChg chg="mod">
          <ac:chgData name="Ma Adelle Gia Arbo" userId="055e108b-22f7-41f4-922b-97c391a55aca" providerId="ADAL" clId="{9DE17D58-76D1-49B3-B4D5-38904B465528}" dt="2022-11-30T13:56:45.206" v="127"/>
          <ac:spMkLst>
            <pc:docMk/>
            <pc:sldMk cId="3465735930" sldId="284"/>
            <ac:spMk id="2" creationId="{91958196-E9F6-4665-B7A5-739B36D9A4F1}"/>
          </ac:spMkLst>
        </pc:spChg>
        <pc:spChg chg="mod">
          <ac:chgData name="Ma Adelle Gia Arbo" userId="055e108b-22f7-41f4-922b-97c391a55aca" providerId="ADAL" clId="{9DE17D58-76D1-49B3-B4D5-38904B465528}" dt="2022-11-30T14:13:37.465" v="469" actId="1076"/>
          <ac:spMkLst>
            <pc:docMk/>
            <pc:sldMk cId="3465735930" sldId="284"/>
            <ac:spMk id="4" creationId="{CC0AF648-CEC4-0863-6083-DD6C7E137A17}"/>
          </ac:spMkLst>
        </pc:spChg>
        <pc:spChg chg="add mod">
          <ac:chgData name="Ma Adelle Gia Arbo" userId="055e108b-22f7-41f4-922b-97c391a55aca" providerId="ADAL" clId="{9DE17D58-76D1-49B3-B4D5-38904B465528}" dt="2022-11-30T14:15:01.513" v="540" actId="5793"/>
          <ac:spMkLst>
            <pc:docMk/>
            <pc:sldMk cId="3465735930" sldId="284"/>
            <ac:spMk id="8" creationId="{1AA821A4-E9A0-79F3-656D-49A923167F93}"/>
          </ac:spMkLst>
        </pc:spChg>
        <pc:spChg chg="add mod">
          <ac:chgData name="Ma Adelle Gia Arbo" userId="055e108b-22f7-41f4-922b-97c391a55aca" providerId="ADAL" clId="{9DE17D58-76D1-49B3-B4D5-38904B465528}" dt="2022-11-30T14:13:51.316" v="471" actId="1076"/>
          <ac:spMkLst>
            <pc:docMk/>
            <pc:sldMk cId="3465735930" sldId="284"/>
            <ac:spMk id="9" creationId="{5E43EBF5-1961-7D43-2C10-F809A2EEB949}"/>
          </ac:spMkLst>
        </pc:spChg>
        <pc:picChg chg="mod">
          <ac:chgData name="Ma Adelle Gia Arbo" userId="055e108b-22f7-41f4-922b-97c391a55aca" providerId="ADAL" clId="{9DE17D58-76D1-49B3-B4D5-38904B465528}" dt="2022-11-30T14:05:44.910" v="331" actId="1076"/>
          <ac:picMkLst>
            <pc:docMk/>
            <pc:sldMk cId="3465735930" sldId="284"/>
            <ac:picMk id="5" creationId="{8A471577-E086-1484-6510-115A2F61F7FF}"/>
          </ac:picMkLst>
        </pc:picChg>
        <pc:picChg chg="add mod">
          <ac:chgData name="Ma Adelle Gia Arbo" userId="055e108b-22f7-41f4-922b-97c391a55aca" providerId="ADAL" clId="{9DE17D58-76D1-49B3-B4D5-38904B465528}" dt="2022-11-30T14:05:39.735" v="330" actId="1076"/>
          <ac:picMkLst>
            <pc:docMk/>
            <pc:sldMk cId="3465735930" sldId="284"/>
            <ac:picMk id="7" creationId="{034179C6-00FE-080B-8B13-CF5CD80E6EE1}"/>
          </ac:picMkLst>
        </pc:picChg>
      </pc:sldChg>
      <pc:sldChg chg="addSp delSp modSp add mod">
        <pc:chgData name="Ma Adelle Gia Arbo" userId="055e108b-22f7-41f4-922b-97c391a55aca" providerId="ADAL" clId="{9DE17D58-76D1-49B3-B4D5-38904B465528}" dt="2022-11-30T14:30:07.666" v="552" actId="1076"/>
        <pc:sldMkLst>
          <pc:docMk/>
          <pc:sldMk cId="2341218477" sldId="285"/>
        </pc:sldMkLst>
        <pc:spChg chg="del">
          <ac:chgData name="Ma Adelle Gia Arbo" userId="055e108b-22f7-41f4-922b-97c391a55aca" providerId="ADAL" clId="{9DE17D58-76D1-49B3-B4D5-38904B465528}" dt="2022-11-30T14:07:54.109" v="368" actId="478"/>
          <ac:spMkLst>
            <pc:docMk/>
            <pc:sldMk cId="2341218477" sldId="285"/>
            <ac:spMk id="4" creationId="{CC0AF648-CEC4-0863-6083-DD6C7E137A17}"/>
          </ac:spMkLst>
        </pc:spChg>
        <pc:picChg chg="del">
          <ac:chgData name="Ma Adelle Gia Arbo" userId="055e108b-22f7-41f4-922b-97c391a55aca" providerId="ADAL" clId="{9DE17D58-76D1-49B3-B4D5-38904B465528}" dt="2022-11-30T14:07:04.866" v="366" actId="478"/>
          <ac:picMkLst>
            <pc:docMk/>
            <pc:sldMk cId="2341218477" sldId="285"/>
            <ac:picMk id="5" creationId="{8A471577-E086-1484-6510-115A2F61F7FF}"/>
          </ac:picMkLst>
        </pc:picChg>
        <pc:picChg chg="del">
          <ac:chgData name="Ma Adelle Gia Arbo" userId="055e108b-22f7-41f4-922b-97c391a55aca" providerId="ADAL" clId="{9DE17D58-76D1-49B3-B4D5-38904B465528}" dt="2022-11-30T14:07:05.891" v="367" actId="478"/>
          <ac:picMkLst>
            <pc:docMk/>
            <pc:sldMk cId="2341218477" sldId="285"/>
            <ac:picMk id="7" creationId="{034179C6-00FE-080B-8B13-CF5CD80E6EE1}"/>
          </ac:picMkLst>
        </pc:picChg>
        <pc:picChg chg="add mod">
          <ac:chgData name="Ma Adelle Gia Arbo" userId="055e108b-22f7-41f4-922b-97c391a55aca" providerId="ADAL" clId="{9DE17D58-76D1-49B3-B4D5-38904B465528}" dt="2022-11-30T14:29:49.311" v="550" actId="14100"/>
          <ac:picMkLst>
            <pc:docMk/>
            <pc:sldMk cId="2341218477" sldId="285"/>
            <ac:picMk id="8" creationId="{D3298486-D897-449D-190A-167A923225FF}"/>
          </ac:picMkLst>
        </pc:picChg>
        <pc:picChg chg="add mod">
          <ac:chgData name="Ma Adelle Gia Arbo" userId="055e108b-22f7-41f4-922b-97c391a55aca" providerId="ADAL" clId="{9DE17D58-76D1-49B3-B4D5-38904B465528}" dt="2022-11-30T14:30:07.666" v="552" actId="1076"/>
          <ac:picMkLst>
            <pc:docMk/>
            <pc:sldMk cId="2341218477" sldId="285"/>
            <ac:picMk id="10" creationId="{8B2431D6-4EA6-831B-5FFF-B4EB5858D870}"/>
          </ac:picMkLst>
        </pc:picChg>
      </pc:sldChg>
      <pc:sldChg chg="delSp del mod">
        <pc:chgData name="Ma Adelle Gia Arbo" userId="055e108b-22f7-41f4-922b-97c391a55aca" providerId="ADAL" clId="{9DE17D58-76D1-49B3-B4D5-38904B465528}" dt="2022-11-30T14:34:47.751" v="590" actId="47"/>
        <pc:sldMkLst>
          <pc:docMk/>
          <pc:sldMk cId="3465735930" sldId="285"/>
        </pc:sldMkLst>
        <pc:spChg chg="del">
          <ac:chgData name="Ma Adelle Gia Arbo" userId="055e108b-22f7-41f4-922b-97c391a55aca" providerId="ADAL" clId="{9DE17D58-76D1-49B3-B4D5-38904B465528}" dt="2022-11-30T14:34:40.644" v="589" actId="478"/>
          <ac:spMkLst>
            <pc:docMk/>
            <pc:sldMk cId="3465735930" sldId="285"/>
            <ac:spMk id="4" creationId="{CC0AF648-CEC4-0863-6083-DD6C7E137A17}"/>
          </ac:spMkLst>
        </pc:spChg>
        <pc:picChg chg="del">
          <ac:chgData name="Ma Adelle Gia Arbo" userId="055e108b-22f7-41f4-922b-97c391a55aca" providerId="ADAL" clId="{9DE17D58-76D1-49B3-B4D5-38904B465528}" dt="2022-11-30T14:34:38.280" v="588" actId="478"/>
          <ac:picMkLst>
            <pc:docMk/>
            <pc:sldMk cId="3465735930" sldId="285"/>
            <ac:picMk id="5" creationId="{8A471577-E086-1484-6510-115A2F61F7FF}"/>
          </ac:picMkLst>
        </pc:picChg>
      </pc:sldChg>
      <pc:sldChg chg="addSp delSp modSp del mod">
        <pc:chgData name="Ma Adelle Gia Arbo" userId="055e108b-22f7-41f4-922b-97c391a55aca" providerId="ADAL" clId="{9DE17D58-76D1-49B3-B4D5-38904B465528}" dt="2022-11-30T15:30:04.740" v="1183" actId="47"/>
        <pc:sldMkLst>
          <pc:docMk/>
          <pc:sldMk cId="3465735930" sldId="287"/>
        </pc:sldMkLst>
        <pc:spChg chg="mod">
          <ac:chgData name="Ma Adelle Gia Arbo" userId="055e108b-22f7-41f4-922b-97c391a55aca" providerId="ADAL" clId="{9DE17D58-76D1-49B3-B4D5-38904B465528}" dt="2022-11-30T14:44:07.182" v="634" actId="1076"/>
          <ac:spMkLst>
            <pc:docMk/>
            <pc:sldMk cId="3465735930" sldId="287"/>
            <ac:spMk id="2" creationId="{91958196-E9F6-4665-B7A5-739B36D9A4F1}"/>
          </ac:spMkLst>
        </pc:spChg>
        <pc:spChg chg="del mod">
          <ac:chgData name="Ma Adelle Gia Arbo" userId="055e108b-22f7-41f4-922b-97c391a55aca" providerId="ADAL" clId="{9DE17D58-76D1-49B3-B4D5-38904B465528}" dt="2022-11-30T15:20:33" v="1145" actId="21"/>
          <ac:spMkLst>
            <pc:docMk/>
            <pc:sldMk cId="3465735930" sldId="287"/>
            <ac:spMk id="4" creationId="{CC0AF648-CEC4-0863-6083-DD6C7E137A17}"/>
          </ac:spMkLst>
        </pc:spChg>
        <pc:spChg chg="mod">
          <ac:chgData name="Ma Adelle Gia Arbo" userId="055e108b-22f7-41f4-922b-97c391a55aca" providerId="ADAL" clId="{9DE17D58-76D1-49B3-B4D5-38904B465528}" dt="2022-11-30T15:28:54.498" v="1171" actId="1076"/>
          <ac:spMkLst>
            <pc:docMk/>
            <pc:sldMk cId="3465735930" sldId="287"/>
            <ac:spMk id="8" creationId="{1AA821A4-E9A0-79F3-656D-49A923167F93}"/>
          </ac:spMkLst>
        </pc:spChg>
        <pc:spChg chg="del mod">
          <ac:chgData name="Ma Adelle Gia Arbo" userId="055e108b-22f7-41f4-922b-97c391a55aca" providerId="ADAL" clId="{9DE17D58-76D1-49B3-B4D5-38904B465528}" dt="2022-11-30T15:20:20.915" v="1143" actId="478"/>
          <ac:spMkLst>
            <pc:docMk/>
            <pc:sldMk cId="3465735930" sldId="287"/>
            <ac:spMk id="9" creationId="{5E43EBF5-1961-7D43-2C10-F809A2EEB949}"/>
          </ac:spMkLst>
        </pc:spChg>
        <pc:picChg chg="del mod">
          <ac:chgData name="Ma Adelle Gia Arbo" userId="055e108b-22f7-41f4-922b-97c391a55aca" providerId="ADAL" clId="{9DE17D58-76D1-49B3-B4D5-38904B465528}" dt="2022-11-30T14:54:06.445" v="642" actId="478"/>
          <ac:picMkLst>
            <pc:docMk/>
            <pc:sldMk cId="3465735930" sldId="287"/>
            <ac:picMk id="5" creationId="{8A471577-E086-1484-6510-115A2F61F7FF}"/>
          </ac:picMkLst>
        </pc:picChg>
        <pc:picChg chg="del mod">
          <ac:chgData name="Ma Adelle Gia Arbo" userId="055e108b-22f7-41f4-922b-97c391a55aca" providerId="ADAL" clId="{9DE17D58-76D1-49B3-B4D5-38904B465528}" dt="2022-11-30T14:54:07.614" v="643" actId="478"/>
          <ac:picMkLst>
            <pc:docMk/>
            <pc:sldMk cId="3465735930" sldId="287"/>
            <ac:picMk id="7" creationId="{034179C6-00FE-080B-8B13-CF5CD80E6EE1}"/>
          </ac:picMkLst>
        </pc:picChg>
        <pc:picChg chg="add mod ord">
          <ac:chgData name="Ma Adelle Gia Arbo" userId="055e108b-22f7-41f4-922b-97c391a55aca" providerId="ADAL" clId="{9DE17D58-76D1-49B3-B4D5-38904B465528}" dt="2022-11-30T15:28:50.693" v="1170" actId="1076"/>
          <ac:picMkLst>
            <pc:docMk/>
            <pc:sldMk cId="3465735930" sldId="287"/>
            <ac:picMk id="11" creationId="{A3190C97-1246-CC1D-55F4-B18C523382B2}"/>
          </ac:picMkLst>
        </pc:picChg>
      </pc:sldChg>
      <pc:sldChg chg="addSp modSp add del mod">
        <pc:chgData name="Ma Adelle Gia Arbo" userId="055e108b-22f7-41f4-922b-97c391a55aca" providerId="ADAL" clId="{9DE17D58-76D1-49B3-B4D5-38904B465528}" dt="2022-11-30T15:14:49.652" v="1054" actId="47"/>
        <pc:sldMkLst>
          <pc:docMk/>
          <pc:sldMk cId="2341218477" sldId="288"/>
        </pc:sldMkLst>
        <pc:spChg chg="add mod">
          <ac:chgData name="Ma Adelle Gia Arbo" userId="055e108b-22f7-41f4-922b-97c391a55aca" providerId="ADAL" clId="{9DE17D58-76D1-49B3-B4D5-38904B465528}" dt="2022-11-30T14:38:02.885" v="633" actId="20577"/>
          <ac:spMkLst>
            <pc:docMk/>
            <pc:sldMk cId="2341218477" sldId="288"/>
            <ac:spMk id="11" creationId="{02EAE6E3-DF7E-DCC1-DBA6-F4EBC61F6D81}"/>
          </ac:spMkLst>
        </pc:spChg>
      </pc:sldChg>
      <pc:sldChg chg="add del">
        <pc:chgData name="Ma Adelle Gia Arbo" userId="055e108b-22f7-41f4-922b-97c391a55aca" providerId="ADAL" clId="{9DE17D58-76D1-49B3-B4D5-38904B465528}" dt="2022-11-30T14:54:09.815" v="644" actId="47"/>
        <pc:sldMkLst>
          <pc:docMk/>
          <pc:sldMk cId="1749811610" sldId="290"/>
        </pc:sldMkLst>
      </pc:sldChg>
      <pc:sldChg chg="add del">
        <pc:chgData name="Ma Adelle Gia Arbo" userId="055e108b-22f7-41f4-922b-97c391a55aca" providerId="ADAL" clId="{9DE17D58-76D1-49B3-B4D5-38904B465528}" dt="2022-11-30T14:54:13.758" v="645" actId="47"/>
        <pc:sldMkLst>
          <pc:docMk/>
          <pc:sldMk cId="450523302" sldId="291"/>
        </pc:sldMkLst>
      </pc:sldChg>
      <pc:sldChg chg="modSp add">
        <pc:chgData name="Ma Adelle Gia Arbo" userId="055e108b-22f7-41f4-922b-97c391a55aca" providerId="ADAL" clId="{9DE17D58-76D1-49B3-B4D5-38904B465528}" dt="2022-11-30T15:12:51.685" v="1029" actId="14826"/>
        <pc:sldMkLst>
          <pc:docMk/>
          <pc:sldMk cId="3081588498" sldId="291"/>
        </pc:sldMkLst>
        <pc:picChg chg="mod">
          <ac:chgData name="Ma Adelle Gia Arbo" userId="055e108b-22f7-41f4-922b-97c391a55aca" providerId="ADAL" clId="{9DE17D58-76D1-49B3-B4D5-38904B465528}" dt="2022-11-30T15:12:51.685" v="1029" actId="14826"/>
          <ac:picMkLst>
            <pc:docMk/>
            <pc:sldMk cId="3081588498" sldId="291"/>
            <ac:picMk id="11" creationId="{A3190C97-1246-CC1D-55F4-B18C523382B2}"/>
          </ac:picMkLst>
        </pc:picChg>
      </pc:sldChg>
      <pc:sldChg chg="add del">
        <pc:chgData name="Ma Adelle Gia Arbo" userId="055e108b-22f7-41f4-922b-97c391a55aca" providerId="ADAL" clId="{9DE17D58-76D1-49B3-B4D5-38904B465528}" dt="2022-11-30T14:54:00.255" v="640" actId="47"/>
        <pc:sldMkLst>
          <pc:docMk/>
          <pc:sldMk cId="3216570869" sldId="291"/>
        </pc:sldMkLst>
      </pc:sldChg>
      <pc:sldChg chg="modSp add del">
        <pc:chgData name="Ma Adelle Gia Arbo" userId="055e108b-22f7-41f4-922b-97c391a55aca" providerId="ADAL" clId="{9DE17D58-76D1-49B3-B4D5-38904B465528}" dt="2022-11-30T15:35:54.785" v="1237" actId="47"/>
        <pc:sldMkLst>
          <pc:docMk/>
          <pc:sldMk cId="3748188930" sldId="292"/>
        </pc:sldMkLst>
        <pc:picChg chg="mod">
          <ac:chgData name="Ma Adelle Gia Arbo" userId="055e108b-22f7-41f4-922b-97c391a55aca" providerId="ADAL" clId="{9DE17D58-76D1-49B3-B4D5-38904B465528}" dt="2022-11-30T15:13:22.502" v="1041" actId="14826"/>
          <ac:picMkLst>
            <pc:docMk/>
            <pc:sldMk cId="3748188930" sldId="292"/>
            <ac:picMk id="11" creationId="{A3190C97-1246-CC1D-55F4-B18C523382B2}"/>
          </ac:picMkLst>
        </pc:picChg>
      </pc:sldChg>
      <pc:sldChg chg="add del">
        <pc:chgData name="Ma Adelle Gia Arbo" userId="055e108b-22f7-41f4-922b-97c391a55aca" providerId="ADAL" clId="{9DE17D58-76D1-49B3-B4D5-38904B465528}" dt="2022-11-30T15:13:16.849" v="1036"/>
        <pc:sldMkLst>
          <pc:docMk/>
          <pc:sldMk cId="1974895189" sldId="293"/>
        </pc:sldMkLst>
      </pc:sldChg>
      <pc:sldChg chg="new add del">
        <pc:chgData name="Ma Adelle Gia Arbo" userId="055e108b-22f7-41f4-922b-97c391a55aca" providerId="ADAL" clId="{9DE17D58-76D1-49B3-B4D5-38904B465528}" dt="2022-11-30T15:13:18.514" v="1038" actId="680"/>
        <pc:sldMkLst>
          <pc:docMk/>
          <pc:sldMk cId="2982805969" sldId="293"/>
        </pc:sldMkLst>
      </pc:sldChg>
      <pc:sldChg chg="addSp delSp modSp add del mod">
        <pc:chgData name="Ma Adelle Gia Arbo" userId="055e108b-22f7-41f4-922b-97c391a55aca" providerId="ADAL" clId="{9DE17D58-76D1-49B3-B4D5-38904B465528}" dt="2022-11-30T15:36:05.682" v="1239" actId="47"/>
        <pc:sldMkLst>
          <pc:docMk/>
          <pc:sldMk cId="3662716992" sldId="293"/>
        </pc:sldMkLst>
        <pc:spChg chg="del">
          <ac:chgData name="Ma Adelle Gia Arbo" userId="055e108b-22f7-41f4-922b-97c391a55aca" providerId="ADAL" clId="{9DE17D58-76D1-49B3-B4D5-38904B465528}" dt="2022-11-30T15:14:35.747" v="1050" actId="478"/>
          <ac:spMkLst>
            <pc:docMk/>
            <pc:sldMk cId="3662716992" sldId="293"/>
            <ac:spMk id="4" creationId="{CC0AF648-CEC4-0863-6083-DD6C7E137A17}"/>
          </ac:spMkLst>
        </pc:spChg>
        <pc:spChg chg="mod">
          <ac:chgData name="Ma Adelle Gia Arbo" userId="055e108b-22f7-41f4-922b-97c391a55aca" providerId="ADAL" clId="{9DE17D58-76D1-49B3-B4D5-38904B465528}" dt="2022-11-30T15:14:33.395" v="1049" actId="1076"/>
          <ac:spMkLst>
            <pc:docMk/>
            <pc:sldMk cId="3662716992" sldId="293"/>
            <ac:spMk id="8" creationId="{1AA821A4-E9A0-79F3-656D-49A923167F93}"/>
          </ac:spMkLst>
        </pc:spChg>
        <pc:spChg chg="del">
          <ac:chgData name="Ma Adelle Gia Arbo" userId="055e108b-22f7-41f4-922b-97c391a55aca" providerId="ADAL" clId="{9DE17D58-76D1-49B3-B4D5-38904B465528}" dt="2022-11-30T15:14:37.966" v="1051" actId="478"/>
          <ac:spMkLst>
            <pc:docMk/>
            <pc:sldMk cId="3662716992" sldId="293"/>
            <ac:spMk id="9" creationId="{5E43EBF5-1961-7D43-2C10-F809A2EEB949}"/>
          </ac:spMkLst>
        </pc:spChg>
        <pc:spChg chg="add del">
          <ac:chgData name="Ma Adelle Gia Arbo" userId="055e108b-22f7-41f4-922b-97c391a55aca" providerId="ADAL" clId="{9DE17D58-76D1-49B3-B4D5-38904B465528}" dt="2022-11-30T15:14:46.988" v="1053" actId="478"/>
          <ac:spMkLst>
            <pc:docMk/>
            <pc:sldMk cId="3662716992" sldId="293"/>
            <ac:spMk id="12" creationId="{F6B33C63-59BD-9949-916A-60517BB7E586}"/>
          </ac:spMkLst>
        </pc:spChg>
        <pc:picChg chg="add del mod">
          <ac:chgData name="Ma Adelle Gia Arbo" userId="055e108b-22f7-41f4-922b-97c391a55aca" providerId="ADAL" clId="{9DE17D58-76D1-49B3-B4D5-38904B465528}" dt="2022-11-30T15:13:40.448" v="1044" actId="931"/>
          <ac:picMkLst>
            <pc:docMk/>
            <pc:sldMk cId="3662716992" sldId="293"/>
            <ac:picMk id="6" creationId="{43F9F455-3A7E-9475-2A57-CD69D641193E}"/>
          </ac:picMkLst>
        </pc:picChg>
        <pc:picChg chg="add del mod">
          <ac:chgData name="Ma Adelle Gia Arbo" userId="055e108b-22f7-41f4-922b-97c391a55aca" providerId="ADAL" clId="{9DE17D58-76D1-49B3-B4D5-38904B465528}" dt="2022-11-30T15:13:59.657" v="1047"/>
          <ac:picMkLst>
            <pc:docMk/>
            <pc:sldMk cId="3662716992" sldId="293"/>
            <ac:picMk id="7" creationId="{84187C6C-C09A-334A-85AA-891F7ED5F6D9}"/>
          </ac:picMkLst>
        </pc:picChg>
        <pc:picChg chg="mod">
          <ac:chgData name="Ma Adelle Gia Arbo" userId="055e108b-22f7-41f4-922b-97c391a55aca" providerId="ADAL" clId="{9DE17D58-76D1-49B3-B4D5-38904B465528}" dt="2022-11-30T15:13:55.107" v="1045" actId="14826"/>
          <ac:picMkLst>
            <pc:docMk/>
            <pc:sldMk cId="3662716992" sldId="293"/>
            <ac:picMk id="11" creationId="{A3190C97-1246-CC1D-55F4-B18C523382B2}"/>
          </ac:picMkLst>
        </pc:picChg>
      </pc:sldChg>
      <pc:sldChg chg="delSp modSp del mod">
        <pc:chgData name="Ma Adelle Gia Arbo" userId="055e108b-22f7-41f4-922b-97c391a55aca" providerId="ADAL" clId="{9DE17D58-76D1-49B3-B4D5-38904B465528}" dt="2022-11-30T15:37:05.654" v="1243" actId="47"/>
        <pc:sldMkLst>
          <pc:docMk/>
          <pc:sldMk cId="3081588498" sldId="294"/>
        </pc:sldMkLst>
        <pc:spChg chg="del mod">
          <ac:chgData name="Ma Adelle Gia Arbo" userId="055e108b-22f7-41f4-922b-97c391a55aca" providerId="ADAL" clId="{9DE17D58-76D1-49B3-B4D5-38904B465528}" dt="2022-11-30T15:20:39.830" v="1149"/>
          <ac:spMkLst>
            <pc:docMk/>
            <pc:sldMk cId="3081588498" sldId="294"/>
            <ac:spMk id="4" creationId="{CC0AF648-CEC4-0863-6083-DD6C7E137A17}"/>
          </ac:spMkLst>
        </pc:spChg>
        <pc:spChg chg="mod">
          <ac:chgData name="Ma Adelle Gia Arbo" userId="055e108b-22f7-41f4-922b-97c391a55aca" providerId="ADAL" clId="{9DE17D58-76D1-49B3-B4D5-38904B465528}" dt="2022-11-30T15:20:39.213" v="1147"/>
          <ac:spMkLst>
            <pc:docMk/>
            <pc:sldMk cId="3081588498" sldId="294"/>
            <ac:spMk id="8" creationId="{1AA821A4-E9A0-79F3-656D-49A923167F93}"/>
          </ac:spMkLst>
        </pc:spChg>
      </pc:sldChg>
      <pc:sldChg chg="modSp add del">
        <pc:chgData name="Ma Adelle Gia Arbo" userId="055e108b-22f7-41f4-922b-97c391a55aca" providerId="ADAL" clId="{9DE17D58-76D1-49B3-B4D5-38904B465528}" dt="2022-11-30T15:36:01.357" v="1238" actId="47"/>
        <pc:sldMkLst>
          <pc:docMk/>
          <pc:sldMk cId="1210778117" sldId="295"/>
        </pc:sldMkLst>
        <pc:picChg chg="mod">
          <ac:chgData name="Ma Adelle Gia Arbo" userId="055e108b-22f7-41f4-922b-97c391a55aca" providerId="ADAL" clId="{9DE17D58-76D1-49B3-B4D5-38904B465528}" dt="2022-11-30T15:15:15.402" v="1056" actId="14826"/>
          <ac:picMkLst>
            <pc:docMk/>
            <pc:sldMk cId="1210778117" sldId="295"/>
            <ac:picMk id="11" creationId="{A3190C97-1246-CC1D-55F4-B18C523382B2}"/>
          </ac:picMkLst>
        </pc:picChg>
      </pc:sldChg>
      <pc:sldChg chg="modSp add del">
        <pc:chgData name="Ma Adelle Gia Arbo" userId="055e108b-22f7-41f4-922b-97c391a55aca" providerId="ADAL" clId="{9DE17D58-76D1-49B3-B4D5-38904B465528}" dt="2022-11-30T15:41:16.888" v="1253" actId="47"/>
        <pc:sldMkLst>
          <pc:docMk/>
          <pc:sldMk cId="205411518" sldId="296"/>
        </pc:sldMkLst>
        <pc:picChg chg="mod">
          <ac:chgData name="Ma Adelle Gia Arbo" userId="055e108b-22f7-41f4-922b-97c391a55aca" providerId="ADAL" clId="{9DE17D58-76D1-49B3-B4D5-38904B465528}" dt="2022-11-30T15:15:32.171" v="1058" actId="14826"/>
          <ac:picMkLst>
            <pc:docMk/>
            <pc:sldMk cId="205411518" sldId="296"/>
            <ac:picMk id="11" creationId="{A3190C97-1246-CC1D-55F4-B18C523382B2}"/>
          </ac:picMkLst>
        </pc:picChg>
      </pc:sldChg>
      <pc:sldChg chg="addSp delSp modSp add mod">
        <pc:chgData name="Ma Adelle Gia Arbo" userId="055e108b-22f7-41f4-922b-97c391a55aca" providerId="ADAL" clId="{9DE17D58-76D1-49B3-B4D5-38904B465528}" dt="2022-11-30T15:33:14.229" v="1190" actId="1035"/>
        <pc:sldMkLst>
          <pc:docMk/>
          <pc:sldMk cId="3045615626" sldId="297"/>
        </pc:sldMkLst>
        <pc:spChg chg="add mod">
          <ac:chgData name="Ma Adelle Gia Arbo" userId="055e108b-22f7-41f4-922b-97c391a55aca" providerId="ADAL" clId="{9DE17D58-76D1-49B3-B4D5-38904B465528}" dt="2022-11-30T15:29:41.747" v="1178" actId="1076"/>
          <ac:spMkLst>
            <pc:docMk/>
            <pc:sldMk cId="3045615626" sldId="297"/>
            <ac:spMk id="5" creationId="{3EF61BE5-621A-F628-18DB-2EF35239E740}"/>
          </ac:spMkLst>
        </pc:spChg>
        <pc:spChg chg="del">
          <ac:chgData name="Ma Adelle Gia Arbo" userId="055e108b-22f7-41f4-922b-97c391a55aca" providerId="ADAL" clId="{9DE17D58-76D1-49B3-B4D5-38904B465528}" dt="2022-11-30T15:30:01.841" v="1182" actId="478"/>
          <ac:spMkLst>
            <pc:docMk/>
            <pc:sldMk cId="3045615626" sldId="297"/>
            <ac:spMk id="6" creationId="{7E300D45-CC37-34EE-FE08-331A2CAF9FF5}"/>
          </ac:spMkLst>
        </pc:spChg>
        <pc:spChg chg="del">
          <ac:chgData name="Ma Adelle Gia Arbo" userId="055e108b-22f7-41f4-922b-97c391a55aca" providerId="ADAL" clId="{9DE17D58-76D1-49B3-B4D5-38904B465528}" dt="2022-11-30T15:29:30.462" v="1176" actId="478"/>
          <ac:spMkLst>
            <pc:docMk/>
            <pc:sldMk cId="3045615626" sldId="297"/>
            <ac:spMk id="8" creationId="{E900D59F-83F3-4014-A7B2-02749A9AFEC8}"/>
          </ac:spMkLst>
        </pc:spChg>
        <pc:spChg chg="del">
          <ac:chgData name="Ma Adelle Gia Arbo" userId="055e108b-22f7-41f4-922b-97c391a55aca" providerId="ADAL" clId="{9DE17D58-76D1-49B3-B4D5-38904B465528}" dt="2022-11-30T15:29:26.724" v="1174" actId="478"/>
          <ac:spMkLst>
            <pc:docMk/>
            <pc:sldMk cId="3045615626" sldId="297"/>
            <ac:spMk id="9" creationId="{7FC8AC36-806B-5158-BD24-B73B063D6490}"/>
          </ac:spMkLst>
        </pc:spChg>
        <pc:picChg chg="del mod">
          <ac:chgData name="Ma Adelle Gia Arbo" userId="055e108b-22f7-41f4-922b-97c391a55aca" providerId="ADAL" clId="{9DE17D58-76D1-49B3-B4D5-38904B465528}" dt="2022-11-30T15:32:56.841" v="1184" actId="478"/>
          <ac:picMkLst>
            <pc:docMk/>
            <pc:sldMk cId="3045615626" sldId="297"/>
            <ac:picMk id="4" creationId="{8ED8D58A-DFE5-3025-A058-ECB0CB65B38D}"/>
          </ac:picMkLst>
        </pc:picChg>
        <pc:picChg chg="add mod ord">
          <ac:chgData name="Ma Adelle Gia Arbo" userId="055e108b-22f7-41f4-922b-97c391a55aca" providerId="ADAL" clId="{9DE17D58-76D1-49B3-B4D5-38904B465528}" dt="2022-11-30T15:33:14.229" v="1190" actId="1035"/>
          <ac:picMkLst>
            <pc:docMk/>
            <pc:sldMk cId="3045615626" sldId="297"/>
            <ac:picMk id="7" creationId="{072CDCE8-390D-2E99-890F-656DE0EAEAD3}"/>
          </ac:picMkLst>
        </pc:picChg>
        <pc:cxnChg chg="del mod">
          <ac:chgData name="Ma Adelle Gia Arbo" userId="055e108b-22f7-41f4-922b-97c391a55aca" providerId="ADAL" clId="{9DE17D58-76D1-49B3-B4D5-38904B465528}" dt="2022-11-30T15:29:28.174" v="1175" actId="478"/>
          <ac:cxnSpMkLst>
            <pc:docMk/>
            <pc:sldMk cId="3045615626" sldId="297"/>
            <ac:cxnSpMk id="10" creationId="{010A8F32-F5B9-BE4F-4E1A-F8C9EC1D9DD7}"/>
          </ac:cxnSpMkLst>
        </pc:cxnChg>
        <pc:cxnChg chg="mod">
          <ac:chgData name="Ma Adelle Gia Arbo" userId="055e108b-22f7-41f4-922b-97c391a55aca" providerId="ADAL" clId="{9DE17D58-76D1-49B3-B4D5-38904B465528}" dt="2022-11-30T15:29:51.021" v="1181" actId="1076"/>
          <ac:cxnSpMkLst>
            <pc:docMk/>
            <pc:sldMk cId="3045615626" sldId="297"/>
            <ac:cxnSpMk id="11" creationId="{D50CA48D-E99E-5B5D-9BE4-EDB3633E02D7}"/>
          </ac:cxnSpMkLst>
        </pc:cxnChg>
      </pc:sldChg>
      <pc:sldChg chg="modSp mod ord">
        <pc:chgData name="Ma Adelle Gia Arbo" userId="055e108b-22f7-41f4-922b-97c391a55aca" providerId="ADAL" clId="{9DE17D58-76D1-49B3-B4D5-38904B465528}" dt="2022-11-30T16:23:15.737" v="1465"/>
        <pc:sldMkLst>
          <pc:docMk/>
          <pc:sldMk cId="3045615626" sldId="298"/>
        </pc:sldMkLst>
        <pc:spChg chg="mod">
          <ac:chgData name="Ma Adelle Gia Arbo" userId="055e108b-22f7-41f4-922b-97c391a55aca" providerId="ADAL" clId="{9DE17D58-76D1-49B3-B4D5-38904B465528}" dt="2022-11-30T15:43:46.972" v="1271" actId="1076"/>
          <ac:spMkLst>
            <pc:docMk/>
            <pc:sldMk cId="3045615626" sldId="298"/>
            <ac:spMk id="5" creationId="{3EF61BE5-621A-F628-18DB-2EF35239E740}"/>
          </ac:spMkLst>
        </pc:spChg>
        <pc:picChg chg="mod ord">
          <ac:chgData name="Ma Adelle Gia Arbo" userId="055e108b-22f7-41f4-922b-97c391a55aca" providerId="ADAL" clId="{9DE17D58-76D1-49B3-B4D5-38904B465528}" dt="2022-11-30T15:34:13.594" v="1234" actId="1037"/>
          <ac:picMkLst>
            <pc:docMk/>
            <pc:sldMk cId="3045615626" sldId="298"/>
            <ac:picMk id="7" creationId="{072CDCE8-390D-2E99-890F-656DE0EAEAD3}"/>
          </ac:picMkLst>
        </pc:picChg>
        <pc:cxnChg chg="mod">
          <ac:chgData name="Ma Adelle Gia Arbo" userId="055e108b-22f7-41f4-922b-97c391a55aca" providerId="ADAL" clId="{9DE17D58-76D1-49B3-B4D5-38904B465528}" dt="2022-11-30T15:34:59.357" v="1235" actId="1076"/>
          <ac:cxnSpMkLst>
            <pc:docMk/>
            <pc:sldMk cId="3045615626" sldId="298"/>
            <ac:cxnSpMk id="11" creationId="{D50CA48D-E99E-5B5D-9BE4-EDB3633E02D7}"/>
          </ac:cxnSpMkLst>
        </pc:cxnChg>
      </pc:sldChg>
      <pc:sldChg chg="modSp add mod ord">
        <pc:chgData name="Ma Adelle Gia Arbo" userId="055e108b-22f7-41f4-922b-97c391a55aca" providerId="ADAL" clId="{9DE17D58-76D1-49B3-B4D5-38904B465528}" dt="2022-11-30T16:23:21.163" v="1467"/>
        <pc:sldMkLst>
          <pc:docMk/>
          <pc:sldMk cId="809874930" sldId="299"/>
        </pc:sldMkLst>
        <pc:spChg chg="mod">
          <ac:chgData name="Ma Adelle Gia Arbo" userId="055e108b-22f7-41f4-922b-97c391a55aca" providerId="ADAL" clId="{9DE17D58-76D1-49B3-B4D5-38904B465528}" dt="2022-11-30T15:44:21.383" v="1273" actId="1076"/>
          <ac:spMkLst>
            <pc:docMk/>
            <pc:sldMk cId="809874930" sldId="299"/>
            <ac:spMk id="5" creationId="{3EF61BE5-621A-F628-18DB-2EF35239E740}"/>
          </ac:spMkLst>
        </pc:spChg>
        <pc:picChg chg="mod">
          <ac:chgData name="Ma Adelle Gia Arbo" userId="055e108b-22f7-41f4-922b-97c391a55aca" providerId="ADAL" clId="{9DE17D58-76D1-49B3-B4D5-38904B465528}" dt="2022-11-30T15:36:55.424" v="1241" actId="14826"/>
          <ac:picMkLst>
            <pc:docMk/>
            <pc:sldMk cId="809874930" sldId="299"/>
            <ac:picMk id="7" creationId="{072CDCE8-390D-2E99-890F-656DE0EAEAD3}"/>
          </ac:picMkLst>
        </pc:picChg>
      </pc:sldChg>
      <pc:sldChg chg="addSp delSp modSp add mod ord">
        <pc:chgData name="Ma Adelle Gia Arbo" userId="055e108b-22f7-41f4-922b-97c391a55aca" providerId="ADAL" clId="{9DE17D58-76D1-49B3-B4D5-38904B465528}" dt="2022-11-30T16:23:44.997" v="1471"/>
        <pc:sldMkLst>
          <pc:docMk/>
          <pc:sldMk cId="2226923456" sldId="300"/>
        </pc:sldMkLst>
        <pc:spChg chg="add del mod">
          <ac:chgData name="Ma Adelle Gia Arbo" userId="055e108b-22f7-41f4-922b-97c391a55aca" providerId="ADAL" clId="{9DE17D58-76D1-49B3-B4D5-38904B465528}" dt="2022-11-30T16:23:08.125" v="1463" actId="478"/>
          <ac:spMkLst>
            <pc:docMk/>
            <pc:sldMk cId="2226923456" sldId="300"/>
            <ac:spMk id="4" creationId="{FA99074E-E8A4-A047-24A3-8A9BD7B7246A}"/>
          </ac:spMkLst>
        </pc:spChg>
        <pc:spChg chg="mod">
          <ac:chgData name="Ma Adelle Gia Arbo" userId="055e108b-22f7-41f4-922b-97c391a55aca" providerId="ADAL" clId="{9DE17D58-76D1-49B3-B4D5-38904B465528}" dt="2022-11-30T15:44:37.784" v="1275" actId="1076"/>
          <ac:spMkLst>
            <pc:docMk/>
            <pc:sldMk cId="2226923456" sldId="300"/>
            <ac:spMk id="5" creationId="{3EF61BE5-621A-F628-18DB-2EF35239E740}"/>
          </ac:spMkLst>
        </pc:spChg>
        <pc:picChg chg="mod">
          <ac:chgData name="Ma Adelle Gia Arbo" userId="055e108b-22f7-41f4-922b-97c391a55aca" providerId="ADAL" clId="{9DE17D58-76D1-49B3-B4D5-38904B465528}" dt="2022-11-30T15:37:13.270" v="1244" actId="14826"/>
          <ac:picMkLst>
            <pc:docMk/>
            <pc:sldMk cId="2226923456" sldId="300"/>
            <ac:picMk id="7" creationId="{072CDCE8-390D-2E99-890F-656DE0EAEAD3}"/>
          </ac:picMkLst>
        </pc:picChg>
      </pc:sldChg>
      <pc:sldChg chg="del">
        <pc:chgData name="Ma Adelle Gia Arbo" userId="055e108b-22f7-41f4-922b-97c391a55aca" providerId="ADAL" clId="{9DE17D58-76D1-49B3-B4D5-38904B465528}" dt="2022-11-30T15:39:48.738" v="1250" actId="47"/>
        <pc:sldMkLst>
          <pc:docMk/>
          <pc:sldMk cId="809874930" sldId="301"/>
        </pc:sldMkLst>
      </pc:sldChg>
      <pc:sldChg chg="ord">
        <pc:chgData name="Ma Adelle Gia Arbo" userId="055e108b-22f7-41f4-922b-97c391a55aca" providerId="ADAL" clId="{9DE17D58-76D1-49B3-B4D5-38904B465528}" dt="2022-11-30T15:58:12.143" v="1457"/>
        <pc:sldMkLst>
          <pc:docMk/>
          <pc:sldMk cId="953872542" sldId="302"/>
        </pc:sldMkLst>
      </pc:sldChg>
      <pc:sldChg chg="new del">
        <pc:chgData name="Ma Adelle Gia Arbo" userId="055e108b-22f7-41f4-922b-97c391a55aca" providerId="ADAL" clId="{9DE17D58-76D1-49B3-B4D5-38904B465528}" dt="2022-11-30T15:51:09.270" v="1391" actId="47"/>
        <pc:sldMkLst>
          <pc:docMk/>
          <pc:sldMk cId="119784535" sldId="303"/>
        </pc:sldMkLst>
      </pc:sldChg>
      <pc:sldChg chg="addSp delSp modSp new del">
        <pc:chgData name="Ma Adelle Gia Arbo" userId="055e108b-22f7-41f4-922b-97c391a55aca" providerId="ADAL" clId="{9DE17D58-76D1-49B3-B4D5-38904B465528}" dt="2022-11-30T15:53:22.169" v="1399" actId="47"/>
        <pc:sldMkLst>
          <pc:docMk/>
          <pc:sldMk cId="2250939497" sldId="303"/>
        </pc:sldMkLst>
        <pc:spChg chg="add del mod">
          <ac:chgData name="Ma Adelle Gia Arbo" userId="055e108b-22f7-41f4-922b-97c391a55aca" providerId="ADAL" clId="{9DE17D58-76D1-49B3-B4D5-38904B465528}" dt="2022-11-30T15:53:13.954" v="1397"/>
          <ac:spMkLst>
            <pc:docMk/>
            <pc:sldMk cId="2250939497" sldId="303"/>
            <ac:spMk id="5" creationId="{F4DE7BBF-921C-9DE4-D641-A76A634191FB}"/>
          </ac:spMkLst>
        </pc:spChg>
      </pc:sldChg>
      <pc:sldChg chg="addSp delSp modSp add mod">
        <pc:chgData name="Ma Adelle Gia Arbo" userId="055e108b-22f7-41f4-922b-97c391a55aca" providerId="ADAL" clId="{9DE17D58-76D1-49B3-B4D5-38904B465528}" dt="2022-11-30T15:56:58.998" v="1455" actId="1037"/>
        <pc:sldMkLst>
          <pc:docMk/>
          <pc:sldMk cId="3272554989" sldId="304"/>
        </pc:sldMkLst>
        <pc:spChg chg="del">
          <ac:chgData name="Ma Adelle Gia Arbo" userId="055e108b-22f7-41f4-922b-97c391a55aca" providerId="ADAL" clId="{9DE17D58-76D1-49B3-B4D5-38904B465528}" dt="2022-11-30T15:53:25.616" v="1400" actId="478"/>
          <ac:spMkLst>
            <pc:docMk/>
            <pc:sldMk cId="3272554989" sldId="304"/>
            <ac:spMk id="4" creationId="{FA99074E-E8A4-A047-24A3-8A9BD7B7246A}"/>
          </ac:spMkLst>
        </pc:spChg>
        <pc:spChg chg="del">
          <ac:chgData name="Ma Adelle Gia Arbo" userId="055e108b-22f7-41f4-922b-97c391a55aca" providerId="ADAL" clId="{9DE17D58-76D1-49B3-B4D5-38904B465528}" dt="2022-11-30T15:56:45.570" v="1427" actId="478"/>
          <ac:spMkLst>
            <pc:docMk/>
            <pc:sldMk cId="3272554989" sldId="304"/>
            <ac:spMk id="5" creationId="{3EF61BE5-621A-F628-18DB-2EF35239E740}"/>
          </ac:spMkLst>
        </pc:spChg>
        <pc:spChg chg="add mod">
          <ac:chgData name="Ma Adelle Gia Arbo" userId="055e108b-22f7-41f4-922b-97c391a55aca" providerId="ADAL" clId="{9DE17D58-76D1-49B3-B4D5-38904B465528}" dt="2022-11-30T15:56:58.998" v="1455" actId="1037"/>
          <ac:spMkLst>
            <pc:docMk/>
            <pc:sldMk cId="3272554989" sldId="304"/>
            <ac:spMk id="8" creationId="{1813FE75-C183-F2B7-6E40-8BD473954715}"/>
          </ac:spMkLst>
        </pc:spChg>
        <pc:picChg chg="mod">
          <ac:chgData name="Ma Adelle Gia Arbo" userId="055e108b-22f7-41f4-922b-97c391a55aca" providerId="ADAL" clId="{9DE17D58-76D1-49B3-B4D5-38904B465528}" dt="2022-11-30T15:55:09.645" v="1404" actId="14826"/>
          <ac:picMkLst>
            <pc:docMk/>
            <pc:sldMk cId="3272554989" sldId="304"/>
            <ac:picMk id="7" creationId="{072CDCE8-390D-2E99-890F-656DE0EAEAD3}"/>
          </ac:picMkLst>
        </pc:picChg>
        <pc:cxnChg chg="add mod">
          <ac:chgData name="Ma Adelle Gia Arbo" userId="055e108b-22f7-41f4-922b-97c391a55aca" providerId="ADAL" clId="{9DE17D58-76D1-49B3-B4D5-38904B465528}" dt="2022-11-30T15:56:58.998" v="1455" actId="1037"/>
          <ac:cxnSpMkLst>
            <pc:docMk/>
            <pc:sldMk cId="3272554989" sldId="304"/>
            <ac:cxnSpMk id="6" creationId="{9DBF80F2-7DAE-2EF5-677C-E736F233BF5D}"/>
          </ac:cxnSpMkLst>
        </pc:cxnChg>
        <pc:cxnChg chg="del">
          <ac:chgData name="Ma Adelle Gia Arbo" userId="055e108b-22f7-41f4-922b-97c391a55aca" providerId="ADAL" clId="{9DE17D58-76D1-49B3-B4D5-38904B465528}" dt="2022-11-30T15:56:45.570" v="1427" actId="478"/>
          <ac:cxnSpMkLst>
            <pc:docMk/>
            <pc:sldMk cId="3272554989" sldId="304"/>
            <ac:cxnSpMk id="11" creationId="{D50CA48D-E99E-5B5D-9BE4-EDB3633E02D7}"/>
          </ac:cxnSpMkLst>
        </pc:cxnChg>
      </pc:sldChg>
      <pc:sldChg chg="modSp add mod">
        <pc:chgData name="Ma Adelle Gia Arbo" userId="055e108b-22f7-41f4-922b-97c391a55aca" providerId="ADAL" clId="{9DE17D58-76D1-49B3-B4D5-38904B465528}" dt="2022-11-30T15:56:02.105" v="1423" actId="1038"/>
        <pc:sldMkLst>
          <pc:docMk/>
          <pc:sldMk cId="1980409040" sldId="305"/>
        </pc:sldMkLst>
        <pc:spChg chg="mod">
          <ac:chgData name="Ma Adelle Gia Arbo" userId="055e108b-22f7-41f4-922b-97c391a55aca" providerId="ADAL" clId="{9DE17D58-76D1-49B3-B4D5-38904B465528}" dt="2022-11-30T15:56:02.105" v="1423" actId="1038"/>
          <ac:spMkLst>
            <pc:docMk/>
            <pc:sldMk cId="1980409040" sldId="305"/>
            <ac:spMk id="5" creationId="{3EF61BE5-621A-F628-18DB-2EF35239E740}"/>
          </ac:spMkLst>
        </pc:spChg>
        <pc:picChg chg="mod">
          <ac:chgData name="Ma Adelle Gia Arbo" userId="055e108b-22f7-41f4-922b-97c391a55aca" providerId="ADAL" clId="{9DE17D58-76D1-49B3-B4D5-38904B465528}" dt="2022-11-30T15:55:19.070" v="1405" actId="14826"/>
          <ac:picMkLst>
            <pc:docMk/>
            <pc:sldMk cId="1980409040" sldId="305"/>
            <ac:picMk id="7" creationId="{072CDCE8-390D-2E99-890F-656DE0EAEAD3}"/>
          </ac:picMkLst>
        </pc:picChg>
        <pc:cxnChg chg="mod">
          <ac:chgData name="Ma Adelle Gia Arbo" userId="055e108b-22f7-41f4-922b-97c391a55aca" providerId="ADAL" clId="{9DE17D58-76D1-49B3-B4D5-38904B465528}" dt="2022-11-30T15:56:02.105" v="1423" actId="1038"/>
          <ac:cxnSpMkLst>
            <pc:docMk/>
            <pc:sldMk cId="1980409040" sldId="305"/>
            <ac:cxnSpMk id="11" creationId="{D50CA48D-E99E-5B5D-9BE4-EDB3633E02D7}"/>
          </ac:cxnSpMkLst>
        </pc:cxnChg>
      </pc:sldChg>
      <pc:sldChg chg="addSp delSp modSp add mod">
        <pc:chgData name="Ma Adelle Gia Arbo" userId="055e108b-22f7-41f4-922b-97c391a55aca" providerId="ADAL" clId="{9DE17D58-76D1-49B3-B4D5-38904B465528}" dt="2022-11-30T15:56:08.048" v="1426"/>
        <pc:sldMkLst>
          <pc:docMk/>
          <pc:sldMk cId="1221985042" sldId="306"/>
        </pc:sldMkLst>
        <pc:spChg chg="del">
          <ac:chgData name="Ma Adelle Gia Arbo" userId="055e108b-22f7-41f4-922b-97c391a55aca" providerId="ADAL" clId="{9DE17D58-76D1-49B3-B4D5-38904B465528}" dt="2022-11-30T15:56:05.811" v="1424" actId="478"/>
          <ac:spMkLst>
            <pc:docMk/>
            <pc:sldMk cId="1221985042" sldId="306"/>
            <ac:spMk id="5" creationId="{3EF61BE5-621A-F628-18DB-2EF35239E740}"/>
          </ac:spMkLst>
        </pc:spChg>
        <pc:spChg chg="add mod">
          <ac:chgData name="Ma Adelle Gia Arbo" userId="055e108b-22f7-41f4-922b-97c391a55aca" providerId="ADAL" clId="{9DE17D58-76D1-49B3-B4D5-38904B465528}" dt="2022-11-30T15:56:08.048" v="1426"/>
          <ac:spMkLst>
            <pc:docMk/>
            <pc:sldMk cId="1221985042" sldId="306"/>
            <ac:spMk id="6" creationId="{D32535B6-9CBC-3EE6-2C39-F59801A43395}"/>
          </ac:spMkLst>
        </pc:spChg>
        <pc:picChg chg="mod">
          <ac:chgData name="Ma Adelle Gia Arbo" userId="055e108b-22f7-41f4-922b-97c391a55aca" providerId="ADAL" clId="{9DE17D58-76D1-49B3-B4D5-38904B465528}" dt="2022-11-30T15:55:38.138" v="1407" actId="14826"/>
          <ac:picMkLst>
            <pc:docMk/>
            <pc:sldMk cId="1221985042" sldId="306"/>
            <ac:picMk id="7" creationId="{072CDCE8-390D-2E99-890F-656DE0EAEAD3}"/>
          </ac:picMkLst>
        </pc:picChg>
        <pc:cxnChg chg="add mod">
          <ac:chgData name="Ma Adelle Gia Arbo" userId="055e108b-22f7-41f4-922b-97c391a55aca" providerId="ADAL" clId="{9DE17D58-76D1-49B3-B4D5-38904B465528}" dt="2022-11-30T15:56:08.048" v="1426"/>
          <ac:cxnSpMkLst>
            <pc:docMk/>
            <pc:sldMk cId="1221985042" sldId="306"/>
            <ac:cxnSpMk id="4" creationId="{C7B242CE-5D9C-D21F-86C6-BFB444490819}"/>
          </ac:cxnSpMkLst>
        </pc:cxnChg>
        <pc:cxnChg chg="del">
          <ac:chgData name="Ma Adelle Gia Arbo" userId="055e108b-22f7-41f4-922b-97c391a55aca" providerId="ADAL" clId="{9DE17D58-76D1-49B3-B4D5-38904B465528}" dt="2022-11-30T15:56:07.337" v="1425" actId="478"/>
          <ac:cxnSpMkLst>
            <pc:docMk/>
            <pc:sldMk cId="1221985042" sldId="306"/>
            <ac:cxnSpMk id="11" creationId="{D50CA48D-E99E-5B5D-9BE4-EDB3633E02D7}"/>
          </ac:cxnSpMkLst>
        </pc:cxnChg>
      </pc:sldChg>
    </pc:docChg>
  </pc:docChgLst>
  <pc:docChgLst>
    <pc:chgData name="Janine De Vera" userId="4f0b0e91-e44d-4d5e-9df0-60b20dfe6090" providerId="ADAL" clId="{35511FFD-DD97-3848-80C1-32918EAC4232}"/>
    <pc:docChg chg="undo custSel addSld delSld modSld sldOrd">
      <pc:chgData name="Janine De Vera" userId="4f0b0e91-e44d-4d5e-9df0-60b20dfe6090" providerId="ADAL" clId="{35511FFD-DD97-3848-80C1-32918EAC4232}" dt="2022-12-01T08:19:56.467" v="5963" actId="14100"/>
      <pc:docMkLst>
        <pc:docMk/>
      </pc:docMkLst>
      <pc:sldChg chg="modSp mod">
        <pc:chgData name="Janine De Vera" userId="4f0b0e91-e44d-4d5e-9df0-60b20dfe6090" providerId="ADAL" clId="{35511FFD-DD97-3848-80C1-32918EAC4232}" dt="2022-11-30T16:43:02.959" v="5886" actId="20577"/>
        <pc:sldMkLst>
          <pc:docMk/>
          <pc:sldMk cId="575140733" sldId="257"/>
        </pc:sldMkLst>
        <pc:spChg chg="mod">
          <ac:chgData name="Janine De Vera" userId="4f0b0e91-e44d-4d5e-9df0-60b20dfe6090" providerId="ADAL" clId="{35511FFD-DD97-3848-80C1-32918EAC4232}" dt="2022-11-30T16:42:16.423" v="5862" actId="20577"/>
          <ac:spMkLst>
            <pc:docMk/>
            <pc:sldMk cId="575140733" sldId="257"/>
            <ac:spMk id="27" creationId="{17DE384F-6A40-D1D5-87C3-DA9C058D5F64}"/>
          </ac:spMkLst>
        </pc:spChg>
        <pc:spChg chg="mod">
          <ac:chgData name="Janine De Vera" userId="4f0b0e91-e44d-4d5e-9df0-60b20dfe6090" providerId="ADAL" clId="{35511FFD-DD97-3848-80C1-32918EAC4232}" dt="2022-11-30T16:42:23.175" v="5866" actId="1036"/>
          <ac:spMkLst>
            <pc:docMk/>
            <pc:sldMk cId="575140733" sldId="257"/>
            <ac:spMk id="36" creationId="{1E2B2093-A6FD-C122-BFE0-972667DECF6A}"/>
          </ac:spMkLst>
        </pc:spChg>
        <pc:spChg chg="mod">
          <ac:chgData name="Janine De Vera" userId="4f0b0e91-e44d-4d5e-9df0-60b20dfe6090" providerId="ADAL" clId="{35511FFD-DD97-3848-80C1-32918EAC4232}" dt="2022-11-30T16:42:23.175" v="5866" actId="1036"/>
          <ac:spMkLst>
            <pc:docMk/>
            <pc:sldMk cId="575140733" sldId="257"/>
            <ac:spMk id="37" creationId="{84BD8C95-0B85-29D1-27F5-5BB72125113D}"/>
          </ac:spMkLst>
        </pc:spChg>
        <pc:spChg chg="mod">
          <ac:chgData name="Janine De Vera" userId="4f0b0e91-e44d-4d5e-9df0-60b20dfe6090" providerId="ADAL" clId="{35511FFD-DD97-3848-80C1-32918EAC4232}" dt="2022-11-30T16:42:23.175" v="5866" actId="1036"/>
          <ac:spMkLst>
            <pc:docMk/>
            <pc:sldMk cId="575140733" sldId="257"/>
            <ac:spMk id="45" creationId="{CC6CD735-07E5-5D04-7DD9-9351DDF80FCC}"/>
          </ac:spMkLst>
        </pc:spChg>
        <pc:spChg chg="mod">
          <ac:chgData name="Janine De Vera" userId="4f0b0e91-e44d-4d5e-9df0-60b20dfe6090" providerId="ADAL" clId="{35511FFD-DD97-3848-80C1-32918EAC4232}" dt="2022-11-30T16:42:23.175" v="5866" actId="1036"/>
          <ac:spMkLst>
            <pc:docMk/>
            <pc:sldMk cId="575140733" sldId="257"/>
            <ac:spMk id="46" creationId="{8B8A78CB-F8BD-1B0A-FD01-3EA766C28490}"/>
          </ac:spMkLst>
        </pc:spChg>
        <pc:spChg chg="mod">
          <ac:chgData name="Janine De Vera" userId="4f0b0e91-e44d-4d5e-9df0-60b20dfe6090" providerId="ADAL" clId="{35511FFD-DD97-3848-80C1-32918EAC4232}" dt="2022-11-30T16:41:48.724" v="5822" actId="1076"/>
          <ac:spMkLst>
            <pc:docMk/>
            <pc:sldMk cId="575140733" sldId="257"/>
            <ac:spMk id="60" creationId="{F57A411F-B3C8-4EA3-7417-5D77B030B314}"/>
          </ac:spMkLst>
        </pc:spChg>
        <pc:spChg chg="mod">
          <ac:chgData name="Janine De Vera" userId="4f0b0e91-e44d-4d5e-9df0-60b20dfe6090" providerId="ADAL" clId="{35511FFD-DD97-3848-80C1-32918EAC4232}" dt="2022-11-30T16:41:52.224" v="5823" actId="1076"/>
          <ac:spMkLst>
            <pc:docMk/>
            <pc:sldMk cId="575140733" sldId="257"/>
            <ac:spMk id="61" creationId="{ADD4B7F2-0792-E936-0E06-6705D9B02C40}"/>
          </ac:spMkLst>
        </pc:spChg>
        <pc:spChg chg="mod">
          <ac:chgData name="Janine De Vera" userId="4f0b0e91-e44d-4d5e-9df0-60b20dfe6090" providerId="ADAL" clId="{35511FFD-DD97-3848-80C1-32918EAC4232}" dt="2022-11-30T16:43:02.959" v="5886" actId="20577"/>
          <ac:spMkLst>
            <pc:docMk/>
            <pc:sldMk cId="575140733" sldId="257"/>
            <ac:spMk id="62" creationId="{55038EF6-0AEA-223E-0E38-AF648C3D519C}"/>
          </ac:spMkLst>
        </pc:spChg>
        <pc:grpChg chg="mod">
          <ac:chgData name="Janine De Vera" userId="4f0b0e91-e44d-4d5e-9df0-60b20dfe6090" providerId="ADAL" clId="{35511FFD-DD97-3848-80C1-32918EAC4232}" dt="2022-11-30T16:42:23.175" v="5866" actId="1036"/>
          <ac:grpSpMkLst>
            <pc:docMk/>
            <pc:sldMk cId="575140733" sldId="257"/>
            <ac:grpSpMk id="32" creationId="{35FD0256-9EE4-95A9-710F-CC3E84F7B11D}"/>
          </ac:grpSpMkLst>
        </pc:grpChg>
        <pc:grpChg chg="mod">
          <ac:chgData name="Janine De Vera" userId="4f0b0e91-e44d-4d5e-9df0-60b20dfe6090" providerId="ADAL" clId="{35511FFD-DD97-3848-80C1-32918EAC4232}" dt="2022-11-30T16:42:23.175" v="5866" actId="1036"/>
          <ac:grpSpMkLst>
            <pc:docMk/>
            <pc:sldMk cId="575140733" sldId="257"/>
            <ac:grpSpMk id="41" creationId="{DC9D3E09-FF6E-DCA3-4DE1-08D5F4C81EF0}"/>
          </ac:grpSpMkLst>
        </pc:grpChg>
        <pc:picChg chg="mod">
          <ac:chgData name="Janine De Vera" userId="4f0b0e91-e44d-4d5e-9df0-60b20dfe6090" providerId="ADAL" clId="{35511FFD-DD97-3848-80C1-32918EAC4232}" dt="2022-11-30T16:42:23.175" v="5866" actId="1036"/>
          <ac:picMkLst>
            <pc:docMk/>
            <pc:sldMk cId="575140733" sldId="257"/>
            <ac:picMk id="50" creationId="{67A55EEE-7535-5030-2006-01EC13216208}"/>
          </ac:picMkLst>
        </pc:picChg>
        <pc:picChg chg="mod">
          <ac:chgData name="Janine De Vera" userId="4f0b0e91-e44d-4d5e-9df0-60b20dfe6090" providerId="ADAL" clId="{35511FFD-DD97-3848-80C1-32918EAC4232}" dt="2022-11-30T16:42:23.175" v="5866" actId="1036"/>
          <ac:picMkLst>
            <pc:docMk/>
            <pc:sldMk cId="575140733" sldId="257"/>
            <ac:picMk id="54" creationId="{8B17027E-0252-071F-2676-1B38CF70C46E}"/>
          </ac:picMkLst>
        </pc:picChg>
        <pc:cxnChg chg="mod">
          <ac:chgData name="Janine De Vera" userId="4f0b0e91-e44d-4d5e-9df0-60b20dfe6090" providerId="ADAL" clId="{35511FFD-DD97-3848-80C1-32918EAC4232}" dt="2022-11-30T16:42:28.131" v="5867" actId="1036"/>
          <ac:cxnSpMkLst>
            <pc:docMk/>
            <pc:sldMk cId="575140733" sldId="257"/>
            <ac:cxnSpMk id="58" creationId="{6548A9B1-4CD4-0761-1D07-339BD11F72FF}"/>
          </ac:cxnSpMkLst>
        </pc:cxnChg>
        <pc:cxnChg chg="mod">
          <ac:chgData name="Janine De Vera" userId="4f0b0e91-e44d-4d5e-9df0-60b20dfe6090" providerId="ADAL" clId="{35511FFD-DD97-3848-80C1-32918EAC4232}" dt="2022-11-30T16:42:28.131" v="5867" actId="1036"/>
          <ac:cxnSpMkLst>
            <pc:docMk/>
            <pc:sldMk cId="575140733" sldId="257"/>
            <ac:cxnSpMk id="59" creationId="{7C8FB831-14F9-022D-6DE2-72F553AEC3D2}"/>
          </ac:cxnSpMkLst>
        </pc:cxnChg>
      </pc:sldChg>
      <pc:sldChg chg="modSp mod">
        <pc:chgData name="Janine De Vera" userId="4f0b0e91-e44d-4d5e-9df0-60b20dfe6090" providerId="ADAL" clId="{35511FFD-DD97-3848-80C1-32918EAC4232}" dt="2022-11-30T12:50:17.238" v="1" actId="20577"/>
        <pc:sldMkLst>
          <pc:docMk/>
          <pc:sldMk cId="3856482971" sldId="260"/>
        </pc:sldMkLst>
        <pc:spChg chg="mod">
          <ac:chgData name="Janine De Vera" userId="4f0b0e91-e44d-4d5e-9df0-60b20dfe6090" providerId="ADAL" clId="{35511FFD-DD97-3848-80C1-32918EAC4232}" dt="2022-11-30T12:50:17.238" v="1" actId="20577"/>
          <ac:spMkLst>
            <pc:docMk/>
            <pc:sldMk cId="3856482971" sldId="260"/>
            <ac:spMk id="32" creationId="{9AD4AE4B-4B6E-2FA5-0A1C-0CA3FB71598C}"/>
          </ac:spMkLst>
        </pc:spChg>
      </pc:sldChg>
      <pc:sldChg chg="addSp delSp modSp add mod">
        <pc:chgData name="Janine De Vera" userId="4f0b0e91-e44d-4d5e-9df0-60b20dfe6090" providerId="ADAL" clId="{35511FFD-DD97-3848-80C1-32918EAC4232}" dt="2022-11-30T16:43:40.287" v="5927" actId="20577"/>
        <pc:sldMkLst>
          <pc:docMk/>
          <pc:sldMk cId="3814695085" sldId="278"/>
        </pc:sldMkLst>
        <pc:spChg chg="del mod">
          <ac:chgData name="Janine De Vera" userId="4f0b0e91-e44d-4d5e-9df0-60b20dfe6090" providerId="ADAL" clId="{35511FFD-DD97-3848-80C1-32918EAC4232}" dt="2022-11-30T16:43:22.963" v="5907" actId="478"/>
          <ac:spMkLst>
            <pc:docMk/>
            <pc:sldMk cId="3814695085" sldId="278"/>
            <ac:spMk id="2" creationId="{91958196-E9F6-4665-B7A5-739B36D9A4F1}"/>
          </ac:spMkLst>
        </pc:spChg>
        <pc:spChg chg="add del mod">
          <ac:chgData name="Janine De Vera" userId="4f0b0e91-e44d-4d5e-9df0-60b20dfe6090" providerId="ADAL" clId="{35511FFD-DD97-3848-80C1-32918EAC4232}" dt="2022-11-30T16:43:27.858" v="5910" actId="478"/>
          <ac:spMkLst>
            <pc:docMk/>
            <pc:sldMk cId="3814695085" sldId="278"/>
            <ac:spMk id="7" creationId="{6683186F-3B83-84F8-EE88-165760A5BA57}"/>
          </ac:spMkLst>
        </pc:spChg>
        <pc:spChg chg="add mod">
          <ac:chgData name="Janine De Vera" userId="4f0b0e91-e44d-4d5e-9df0-60b20dfe6090" providerId="ADAL" clId="{35511FFD-DD97-3848-80C1-32918EAC4232}" dt="2022-11-30T16:43:40.287" v="5927" actId="20577"/>
          <ac:spMkLst>
            <pc:docMk/>
            <pc:sldMk cId="3814695085" sldId="278"/>
            <ac:spMk id="12" creationId="{A66FD04B-5ACA-E113-C335-4151460C53A6}"/>
          </ac:spMkLst>
        </pc:spChg>
        <pc:spChg chg="del">
          <ac:chgData name="Janine De Vera" userId="4f0b0e91-e44d-4d5e-9df0-60b20dfe6090" providerId="ADAL" clId="{35511FFD-DD97-3848-80C1-32918EAC4232}" dt="2022-11-30T13:04:03.808" v="5" actId="478"/>
          <ac:spMkLst>
            <pc:docMk/>
            <pc:sldMk cId="3814695085" sldId="278"/>
            <ac:spMk id="19" creationId="{769582F9-DA42-992A-981C-14163DB67986}"/>
          </ac:spMkLst>
        </pc:spChg>
        <pc:spChg chg="del">
          <ac:chgData name="Janine De Vera" userId="4f0b0e91-e44d-4d5e-9df0-60b20dfe6090" providerId="ADAL" clId="{35511FFD-DD97-3848-80C1-32918EAC4232}" dt="2022-11-30T13:04:00.020" v="3" actId="478"/>
          <ac:spMkLst>
            <pc:docMk/>
            <pc:sldMk cId="3814695085" sldId="278"/>
            <ac:spMk id="20" creationId="{FF9A447F-983E-9A51-446D-5344039A0F61}"/>
          </ac:spMkLst>
        </pc:spChg>
        <pc:spChg chg="del">
          <ac:chgData name="Janine De Vera" userId="4f0b0e91-e44d-4d5e-9df0-60b20dfe6090" providerId="ADAL" clId="{35511FFD-DD97-3848-80C1-32918EAC4232}" dt="2022-11-30T13:04:09.263" v="7" actId="478"/>
          <ac:spMkLst>
            <pc:docMk/>
            <pc:sldMk cId="3814695085" sldId="278"/>
            <ac:spMk id="60" creationId="{F57A411F-B3C8-4EA3-7417-5D77B030B314}"/>
          </ac:spMkLst>
        </pc:spChg>
        <pc:spChg chg="del">
          <ac:chgData name="Janine De Vera" userId="4f0b0e91-e44d-4d5e-9df0-60b20dfe6090" providerId="ADAL" clId="{35511FFD-DD97-3848-80C1-32918EAC4232}" dt="2022-11-30T13:04:09.263" v="7" actId="478"/>
          <ac:spMkLst>
            <pc:docMk/>
            <pc:sldMk cId="3814695085" sldId="278"/>
            <ac:spMk id="61" creationId="{ADD4B7F2-0792-E936-0E06-6705D9B02C40}"/>
          </ac:spMkLst>
        </pc:spChg>
        <pc:spChg chg="del">
          <ac:chgData name="Janine De Vera" userId="4f0b0e91-e44d-4d5e-9df0-60b20dfe6090" providerId="ADAL" clId="{35511FFD-DD97-3848-80C1-32918EAC4232}" dt="2022-11-30T13:04:09.263" v="7" actId="478"/>
          <ac:spMkLst>
            <pc:docMk/>
            <pc:sldMk cId="3814695085" sldId="278"/>
            <ac:spMk id="62" creationId="{55038EF6-0AEA-223E-0E38-AF648C3D519C}"/>
          </ac:spMkLst>
        </pc:spChg>
        <pc:grpChg chg="del">
          <ac:chgData name="Janine De Vera" userId="4f0b0e91-e44d-4d5e-9df0-60b20dfe6090" providerId="ADAL" clId="{35511FFD-DD97-3848-80C1-32918EAC4232}" dt="2022-11-30T13:04:06.145" v="6" actId="478"/>
          <ac:grpSpMkLst>
            <pc:docMk/>
            <pc:sldMk cId="3814695085" sldId="278"/>
            <ac:grpSpMk id="23" creationId="{65CD0455-2309-E4F8-354D-8265FB656F0D}"/>
          </ac:grpSpMkLst>
        </pc:grpChg>
        <pc:grpChg chg="del">
          <ac:chgData name="Janine De Vera" userId="4f0b0e91-e44d-4d5e-9df0-60b20dfe6090" providerId="ADAL" clId="{35511FFD-DD97-3848-80C1-32918EAC4232}" dt="2022-11-30T13:04:09.263" v="7" actId="478"/>
          <ac:grpSpMkLst>
            <pc:docMk/>
            <pc:sldMk cId="3814695085" sldId="278"/>
            <ac:grpSpMk id="32" creationId="{35FD0256-9EE4-95A9-710F-CC3E84F7B11D}"/>
          </ac:grpSpMkLst>
        </pc:grpChg>
        <pc:grpChg chg="del">
          <ac:chgData name="Janine De Vera" userId="4f0b0e91-e44d-4d5e-9df0-60b20dfe6090" providerId="ADAL" clId="{35511FFD-DD97-3848-80C1-32918EAC4232}" dt="2022-11-30T13:04:09.263" v="7" actId="478"/>
          <ac:grpSpMkLst>
            <pc:docMk/>
            <pc:sldMk cId="3814695085" sldId="278"/>
            <ac:grpSpMk id="41" creationId="{DC9D3E09-FF6E-DCA3-4DE1-08D5F4C81EF0}"/>
          </ac:grpSpMkLst>
        </pc:grpChg>
        <pc:picChg chg="add del">
          <ac:chgData name="Janine De Vera" userId="4f0b0e91-e44d-4d5e-9df0-60b20dfe6090" providerId="ADAL" clId="{35511FFD-DD97-3848-80C1-32918EAC4232}" dt="2022-11-30T16:43:25.242" v="5909" actId="478"/>
          <ac:picMkLst>
            <pc:docMk/>
            <pc:sldMk cId="3814695085" sldId="278"/>
            <ac:picMk id="4" creationId="{8ED8D58A-DFE5-3025-A058-ECB0CB65B38D}"/>
          </ac:picMkLst>
        </pc:picChg>
        <pc:picChg chg="del">
          <ac:chgData name="Janine De Vera" userId="4f0b0e91-e44d-4d5e-9df0-60b20dfe6090" providerId="ADAL" clId="{35511FFD-DD97-3848-80C1-32918EAC4232}" dt="2022-11-30T13:04:09.263" v="7" actId="478"/>
          <ac:picMkLst>
            <pc:docMk/>
            <pc:sldMk cId="3814695085" sldId="278"/>
            <ac:picMk id="50" creationId="{67A55EEE-7535-5030-2006-01EC13216208}"/>
          </ac:picMkLst>
        </pc:picChg>
        <pc:picChg chg="del">
          <ac:chgData name="Janine De Vera" userId="4f0b0e91-e44d-4d5e-9df0-60b20dfe6090" providerId="ADAL" clId="{35511FFD-DD97-3848-80C1-32918EAC4232}" dt="2022-11-30T13:04:09.263" v="7" actId="478"/>
          <ac:picMkLst>
            <pc:docMk/>
            <pc:sldMk cId="3814695085" sldId="278"/>
            <ac:picMk id="52" creationId="{A04306B6-9E31-BE15-8C39-1B4964DBC902}"/>
          </ac:picMkLst>
        </pc:picChg>
        <pc:picChg chg="del">
          <ac:chgData name="Janine De Vera" userId="4f0b0e91-e44d-4d5e-9df0-60b20dfe6090" providerId="ADAL" clId="{35511FFD-DD97-3848-80C1-32918EAC4232}" dt="2022-11-30T13:04:09.263" v="7" actId="478"/>
          <ac:picMkLst>
            <pc:docMk/>
            <pc:sldMk cId="3814695085" sldId="278"/>
            <ac:picMk id="54" creationId="{8B17027E-0252-071F-2676-1B38CF70C46E}"/>
          </ac:picMkLst>
        </pc:picChg>
        <pc:cxnChg chg="del">
          <ac:chgData name="Janine De Vera" userId="4f0b0e91-e44d-4d5e-9df0-60b20dfe6090" providerId="ADAL" clId="{35511FFD-DD97-3848-80C1-32918EAC4232}" dt="2022-11-30T13:04:01.468" v="4" actId="478"/>
          <ac:cxnSpMkLst>
            <pc:docMk/>
            <pc:sldMk cId="3814695085" sldId="278"/>
            <ac:cxnSpMk id="21" creationId="{AE33350E-E474-C9D8-E556-CE181FED83E0}"/>
          </ac:cxnSpMkLst>
        </pc:cxnChg>
        <pc:cxnChg chg="add del">
          <ac:chgData name="Janine De Vera" userId="4f0b0e91-e44d-4d5e-9df0-60b20dfe6090" providerId="ADAL" clId="{35511FFD-DD97-3848-80C1-32918EAC4232}" dt="2022-11-30T13:06:19.998" v="10" actId="478"/>
          <ac:cxnSpMkLst>
            <pc:docMk/>
            <pc:sldMk cId="3814695085" sldId="278"/>
            <ac:cxnSpMk id="22" creationId="{23A8C8CE-AE3C-FCB8-97FC-CF6DDABB767F}"/>
          </ac:cxnSpMkLst>
        </pc:cxnChg>
        <pc:cxnChg chg="del">
          <ac:chgData name="Janine De Vera" userId="4f0b0e91-e44d-4d5e-9df0-60b20dfe6090" providerId="ADAL" clId="{35511FFD-DD97-3848-80C1-32918EAC4232}" dt="2022-11-30T13:04:09.263" v="7" actId="478"/>
          <ac:cxnSpMkLst>
            <pc:docMk/>
            <pc:sldMk cId="3814695085" sldId="278"/>
            <ac:cxnSpMk id="57" creationId="{50702244-C17A-D614-045F-F2BEC4616E45}"/>
          </ac:cxnSpMkLst>
        </pc:cxnChg>
        <pc:cxnChg chg="del">
          <ac:chgData name="Janine De Vera" userId="4f0b0e91-e44d-4d5e-9df0-60b20dfe6090" providerId="ADAL" clId="{35511FFD-DD97-3848-80C1-32918EAC4232}" dt="2022-11-30T13:04:09.263" v="7" actId="478"/>
          <ac:cxnSpMkLst>
            <pc:docMk/>
            <pc:sldMk cId="3814695085" sldId="278"/>
            <ac:cxnSpMk id="58" creationId="{6548A9B1-4CD4-0761-1D07-339BD11F72FF}"/>
          </ac:cxnSpMkLst>
        </pc:cxnChg>
        <pc:cxnChg chg="del">
          <ac:chgData name="Janine De Vera" userId="4f0b0e91-e44d-4d5e-9df0-60b20dfe6090" providerId="ADAL" clId="{35511FFD-DD97-3848-80C1-32918EAC4232}" dt="2022-11-30T13:04:09.263" v="7" actId="478"/>
          <ac:cxnSpMkLst>
            <pc:docMk/>
            <pc:sldMk cId="3814695085" sldId="278"/>
            <ac:cxnSpMk id="59" creationId="{7C8FB831-14F9-022D-6DE2-72F553AEC3D2}"/>
          </ac:cxnSpMkLst>
        </pc:cxnChg>
      </pc:sldChg>
      <pc:sldChg chg="addSp delSp modSp add del mod">
        <pc:chgData name="Janine De Vera" userId="4f0b0e91-e44d-4d5e-9df0-60b20dfe6090" providerId="ADAL" clId="{35511FFD-DD97-3848-80C1-32918EAC4232}" dt="2022-11-30T14:49:33.954" v="1567" actId="2696"/>
        <pc:sldMkLst>
          <pc:docMk/>
          <pc:sldMk cId="3489997101" sldId="279"/>
        </pc:sldMkLst>
        <pc:spChg chg="mod">
          <ac:chgData name="Janine De Vera" userId="4f0b0e91-e44d-4d5e-9df0-60b20dfe6090" providerId="ADAL" clId="{35511FFD-DD97-3848-80C1-32918EAC4232}" dt="2022-11-30T13:07:55.080" v="172" actId="20577"/>
          <ac:spMkLst>
            <pc:docMk/>
            <pc:sldMk cId="3489997101" sldId="279"/>
            <ac:spMk id="2" creationId="{91958196-E9F6-4665-B7A5-739B36D9A4F1}"/>
          </ac:spMkLst>
        </pc:spChg>
        <pc:spChg chg="add mod">
          <ac:chgData name="Janine De Vera" userId="4f0b0e91-e44d-4d5e-9df0-60b20dfe6090" providerId="ADAL" clId="{35511FFD-DD97-3848-80C1-32918EAC4232}" dt="2022-11-30T14:02:59.852" v="1044" actId="1076"/>
          <ac:spMkLst>
            <pc:docMk/>
            <pc:sldMk cId="3489997101" sldId="279"/>
            <ac:spMk id="8" creationId="{B4741185-AD73-D910-1A4F-E1FFAFFA2C6E}"/>
          </ac:spMkLst>
        </pc:spChg>
        <pc:spChg chg="add mod">
          <ac:chgData name="Janine De Vera" userId="4f0b0e91-e44d-4d5e-9df0-60b20dfe6090" providerId="ADAL" clId="{35511FFD-DD97-3848-80C1-32918EAC4232}" dt="2022-11-30T14:05:33.270" v="1276" actId="1076"/>
          <ac:spMkLst>
            <pc:docMk/>
            <pc:sldMk cId="3489997101" sldId="279"/>
            <ac:spMk id="14" creationId="{C5EB7375-B41B-98B5-9C73-056F795BB1C1}"/>
          </ac:spMkLst>
        </pc:spChg>
        <pc:spChg chg="add del mod">
          <ac:chgData name="Janine De Vera" userId="4f0b0e91-e44d-4d5e-9df0-60b20dfe6090" providerId="ADAL" clId="{35511FFD-DD97-3848-80C1-32918EAC4232}" dt="2022-11-30T14:06:01.622" v="1279" actId="478"/>
          <ac:spMkLst>
            <pc:docMk/>
            <pc:sldMk cId="3489997101" sldId="279"/>
            <ac:spMk id="15" creationId="{C620A70D-5FCE-77E5-9BBD-F32C0ECD507F}"/>
          </ac:spMkLst>
        </pc:spChg>
        <pc:picChg chg="add mod">
          <ac:chgData name="Janine De Vera" userId="4f0b0e91-e44d-4d5e-9df0-60b20dfe6090" providerId="ADAL" clId="{35511FFD-DD97-3848-80C1-32918EAC4232}" dt="2022-11-30T14:11:20.241" v="1291" actId="1076"/>
          <ac:picMkLst>
            <pc:docMk/>
            <pc:sldMk cId="3489997101" sldId="279"/>
            <ac:picMk id="4" creationId="{13334D30-D6D7-2D22-44EA-DED0CDEE8FD0}"/>
          </ac:picMkLst>
        </pc:picChg>
        <pc:picChg chg="add del mod">
          <ac:chgData name="Janine De Vera" userId="4f0b0e91-e44d-4d5e-9df0-60b20dfe6090" providerId="ADAL" clId="{35511FFD-DD97-3848-80C1-32918EAC4232}" dt="2022-11-30T14:10:06.603" v="1283" actId="478"/>
          <ac:picMkLst>
            <pc:docMk/>
            <pc:sldMk cId="3489997101" sldId="279"/>
            <ac:picMk id="17" creationId="{2E73ADC0-9CA0-3163-1FD1-04A1FCC06ED5}"/>
          </ac:picMkLst>
        </pc:picChg>
        <pc:picChg chg="add del mod">
          <ac:chgData name="Janine De Vera" userId="4f0b0e91-e44d-4d5e-9df0-60b20dfe6090" providerId="ADAL" clId="{35511FFD-DD97-3848-80C1-32918EAC4232}" dt="2022-11-30T14:11:21.457" v="1292" actId="478"/>
          <ac:picMkLst>
            <pc:docMk/>
            <pc:sldMk cId="3489997101" sldId="279"/>
            <ac:picMk id="19" creationId="{FC5892B4-15D2-3906-0CD1-559ED6B117A3}"/>
          </ac:picMkLst>
        </pc:picChg>
        <pc:cxnChg chg="add mod">
          <ac:chgData name="Janine De Vera" userId="4f0b0e91-e44d-4d5e-9df0-60b20dfe6090" providerId="ADAL" clId="{35511FFD-DD97-3848-80C1-32918EAC4232}" dt="2022-11-30T14:03:03.391" v="1045" actId="1076"/>
          <ac:cxnSpMkLst>
            <pc:docMk/>
            <pc:sldMk cId="3489997101" sldId="279"/>
            <ac:cxnSpMk id="5" creationId="{5C147752-CA75-02A3-D417-203C1A7DA63E}"/>
          </ac:cxnSpMkLst>
        </pc:cxnChg>
        <pc:cxnChg chg="add mod">
          <ac:chgData name="Janine De Vera" userId="4f0b0e91-e44d-4d5e-9df0-60b20dfe6090" providerId="ADAL" clId="{35511FFD-DD97-3848-80C1-32918EAC4232}" dt="2022-11-30T14:03:27.572" v="1050" actId="208"/>
          <ac:cxnSpMkLst>
            <pc:docMk/>
            <pc:sldMk cId="3489997101" sldId="279"/>
            <ac:cxnSpMk id="11" creationId="{010C26A7-B23B-F053-AC01-E54E338F46F6}"/>
          </ac:cxnSpMkLst>
        </pc:cxnChg>
      </pc:sldChg>
      <pc:sldChg chg="modSp add mod">
        <pc:chgData name="Janine De Vera" userId="4f0b0e91-e44d-4d5e-9df0-60b20dfe6090" providerId="ADAL" clId="{35511FFD-DD97-3848-80C1-32918EAC4232}" dt="2022-11-30T13:09:08.745" v="264" actId="14100"/>
        <pc:sldMkLst>
          <pc:docMk/>
          <pc:sldMk cId="349819430" sldId="280"/>
        </pc:sldMkLst>
        <pc:spChg chg="mod">
          <ac:chgData name="Janine De Vera" userId="4f0b0e91-e44d-4d5e-9df0-60b20dfe6090" providerId="ADAL" clId="{35511FFD-DD97-3848-80C1-32918EAC4232}" dt="2022-11-30T13:09:08.745" v="264" actId="14100"/>
          <ac:spMkLst>
            <pc:docMk/>
            <pc:sldMk cId="349819430" sldId="280"/>
            <ac:spMk id="2" creationId="{91958196-E9F6-4665-B7A5-739B36D9A4F1}"/>
          </ac:spMkLst>
        </pc:spChg>
      </pc:sldChg>
      <pc:sldChg chg="addSp delSp modSp add del mod">
        <pc:chgData name="Janine De Vera" userId="4f0b0e91-e44d-4d5e-9df0-60b20dfe6090" providerId="ADAL" clId="{35511FFD-DD97-3848-80C1-32918EAC4232}" dt="2022-11-30T15:14:29.490" v="3563" actId="2696"/>
        <pc:sldMkLst>
          <pc:docMk/>
          <pc:sldMk cId="1731144580" sldId="286"/>
        </pc:sldMkLst>
        <pc:spChg chg="mod">
          <ac:chgData name="Janine De Vera" userId="4f0b0e91-e44d-4d5e-9df0-60b20dfe6090" providerId="ADAL" clId="{35511FFD-DD97-3848-80C1-32918EAC4232}" dt="2022-11-30T14:13:35.152" v="1329" actId="1076"/>
          <ac:spMkLst>
            <pc:docMk/>
            <pc:sldMk cId="1731144580" sldId="286"/>
            <ac:spMk id="2" creationId="{91958196-E9F6-4665-B7A5-739B36D9A4F1}"/>
          </ac:spMkLst>
        </pc:spChg>
        <pc:spChg chg="mod">
          <ac:chgData name="Janine De Vera" userId="4f0b0e91-e44d-4d5e-9df0-60b20dfe6090" providerId="ADAL" clId="{35511FFD-DD97-3848-80C1-32918EAC4232}" dt="2022-11-30T14:14:54.478" v="1356" actId="20577"/>
          <ac:spMkLst>
            <pc:docMk/>
            <pc:sldMk cId="1731144580" sldId="286"/>
            <ac:spMk id="8" creationId="{B4741185-AD73-D910-1A4F-E1FFAFFA2C6E}"/>
          </ac:spMkLst>
        </pc:spChg>
        <pc:spChg chg="del mod">
          <ac:chgData name="Janine De Vera" userId="4f0b0e91-e44d-4d5e-9df0-60b20dfe6090" providerId="ADAL" clId="{35511FFD-DD97-3848-80C1-32918EAC4232}" dt="2022-11-30T14:34:51.955" v="1519" actId="478"/>
          <ac:spMkLst>
            <pc:docMk/>
            <pc:sldMk cId="1731144580" sldId="286"/>
            <ac:spMk id="14" creationId="{C5EB7375-B41B-98B5-9C73-056F795BB1C1}"/>
          </ac:spMkLst>
        </pc:spChg>
        <pc:spChg chg="add mod">
          <ac:chgData name="Janine De Vera" userId="4f0b0e91-e44d-4d5e-9df0-60b20dfe6090" providerId="ADAL" clId="{35511FFD-DD97-3848-80C1-32918EAC4232}" dt="2022-11-30T14:35:19.342" v="1524" actId="1038"/>
          <ac:spMkLst>
            <pc:docMk/>
            <pc:sldMk cId="1731144580" sldId="286"/>
            <ac:spMk id="20" creationId="{43CEFEF6-695A-F224-CE90-4B5EC849B903}"/>
          </ac:spMkLst>
        </pc:spChg>
        <pc:spChg chg="add del mod">
          <ac:chgData name="Janine De Vera" userId="4f0b0e91-e44d-4d5e-9df0-60b20dfe6090" providerId="ADAL" clId="{35511FFD-DD97-3848-80C1-32918EAC4232}" dt="2022-11-30T14:50:59.467" v="1816" actId="478"/>
          <ac:spMkLst>
            <pc:docMk/>
            <pc:sldMk cId="1731144580" sldId="286"/>
            <ac:spMk id="29" creationId="{E408F725-210C-182A-5740-B1444F186E80}"/>
          </ac:spMkLst>
        </pc:spChg>
        <pc:spChg chg="add mod">
          <ac:chgData name="Janine De Vera" userId="4f0b0e91-e44d-4d5e-9df0-60b20dfe6090" providerId="ADAL" clId="{35511FFD-DD97-3848-80C1-32918EAC4232}" dt="2022-11-30T14:50:43.151" v="1811" actId="1036"/>
          <ac:spMkLst>
            <pc:docMk/>
            <pc:sldMk cId="1731144580" sldId="286"/>
            <ac:spMk id="30" creationId="{B9301CF0-9457-BACC-6ECF-E28C88025097}"/>
          </ac:spMkLst>
        </pc:spChg>
        <pc:spChg chg="add mod">
          <ac:chgData name="Janine De Vera" userId="4f0b0e91-e44d-4d5e-9df0-60b20dfe6090" providerId="ADAL" clId="{35511FFD-DD97-3848-80C1-32918EAC4232}" dt="2022-11-30T15:13:17.233" v="3516" actId="1076"/>
          <ac:spMkLst>
            <pc:docMk/>
            <pc:sldMk cId="1731144580" sldId="286"/>
            <ac:spMk id="31" creationId="{73EF2153-0ECF-E20A-7302-3DB0A5EAD478}"/>
          </ac:spMkLst>
        </pc:spChg>
        <pc:picChg chg="del">
          <ac:chgData name="Janine De Vera" userId="4f0b0e91-e44d-4d5e-9df0-60b20dfe6090" providerId="ADAL" clId="{35511FFD-DD97-3848-80C1-32918EAC4232}" dt="2022-11-30T14:11:24.910" v="1294" actId="478"/>
          <ac:picMkLst>
            <pc:docMk/>
            <pc:sldMk cId="1731144580" sldId="286"/>
            <ac:picMk id="4" creationId="{13334D30-D6D7-2D22-44EA-DED0CDEE8FD0}"/>
          </ac:picMkLst>
        </pc:picChg>
        <pc:picChg chg="add del mod">
          <ac:chgData name="Janine De Vera" userId="4f0b0e91-e44d-4d5e-9df0-60b20dfe6090" providerId="ADAL" clId="{35511FFD-DD97-3848-80C1-32918EAC4232}" dt="2022-11-30T14:13:05.871" v="1318" actId="478"/>
          <ac:picMkLst>
            <pc:docMk/>
            <pc:sldMk cId="1731144580" sldId="286"/>
            <ac:picMk id="7" creationId="{673915F7-79AF-6D57-B899-E382CF7B6B81}"/>
          </ac:picMkLst>
        </pc:picChg>
        <pc:picChg chg="add del mod">
          <ac:chgData name="Janine De Vera" userId="4f0b0e91-e44d-4d5e-9df0-60b20dfe6090" providerId="ADAL" clId="{35511FFD-DD97-3848-80C1-32918EAC4232}" dt="2022-11-30T14:13:01.500" v="1316" actId="478"/>
          <ac:picMkLst>
            <pc:docMk/>
            <pc:sldMk cId="1731144580" sldId="286"/>
            <ac:picMk id="10" creationId="{F4FD7A51-03E9-DBC9-756F-0BEF883F94EF}"/>
          </ac:picMkLst>
        </pc:picChg>
        <pc:picChg chg="add mod">
          <ac:chgData name="Janine De Vera" userId="4f0b0e91-e44d-4d5e-9df0-60b20dfe6090" providerId="ADAL" clId="{35511FFD-DD97-3848-80C1-32918EAC4232}" dt="2022-11-30T14:37:49.153" v="1565" actId="1076"/>
          <ac:picMkLst>
            <pc:docMk/>
            <pc:sldMk cId="1731144580" sldId="286"/>
            <ac:picMk id="13" creationId="{11419793-5D55-D831-F6E1-42D7EEA10BF7}"/>
          </ac:picMkLst>
        </pc:picChg>
        <pc:picChg chg="add del mod">
          <ac:chgData name="Janine De Vera" userId="4f0b0e91-e44d-4d5e-9df0-60b20dfe6090" providerId="ADAL" clId="{35511FFD-DD97-3848-80C1-32918EAC4232}" dt="2022-11-30T14:35:36.222" v="1529" actId="478"/>
          <ac:picMkLst>
            <pc:docMk/>
            <pc:sldMk cId="1731144580" sldId="286"/>
            <ac:picMk id="22" creationId="{1EBA6668-1D65-5188-2ECF-38A553407978}"/>
          </ac:picMkLst>
        </pc:picChg>
        <pc:picChg chg="add del mod">
          <ac:chgData name="Janine De Vera" userId="4f0b0e91-e44d-4d5e-9df0-60b20dfe6090" providerId="ADAL" clId="{35511FFD-DD97-3848-80C1-32918EAC4232}" dt="2022-11-30T14:36:44.259" v="1545" actId="478"/>
          <ac:picMkLst>
            <pc:docMk/>
            <pc:sldMk cId="1731144580" sldId="286"/>
            <ac:picMk id="24" creationId="{063EDD22-0D8F-E380-C36F-64DD6BDAD9B8}"/>
          </ac:picMkLst>
        </pc:picChg>
        <pc:picChg chg="add del mod">
          <ac:chgData name="Janine De Vera" userId="4f0b0e91-e44d-4d5e-9df0-60b20dfe6090" providerId="ADAL" clId="{35511FFD-DD97-3848-80C1-32918EAC4232}" dt="2022-11-30T14:36:52.534" v="1550" actId="478"/>
          <ac:picMkLst>
            <pc:docMk/>
            <pc:sldMk cId="1731144580" sldId="286"/>
            <ac:picMk id="26" creationId="{53A52675-2BD3-0FD3-4EF2-A400C378F2A9}"/>
          </ac:picMkLst>
        </pc:picChg>
        <pc:picChg chg="add mod">
          <ac:chgData name="Janine De Vera" userId="4f0b0e91-e44d-4d5e-9df0-60b20dfe6090" providerId="ADAL" clId="{35511FFD-DD97-3848-80C1-32918EAC4232}" dt="2022-11-30T14:37:51.997" v="1566" actId="1076"/>
          <ac:picMkLst>
            <pc:docMk/>
            <pc:sldMk cId="1731144580" sldId="286"/>
            <ac:picMk id="28" creationId="{6859A0DF-2617-3EDA-E0F8-6C467683392D}"/>
          </ac:picMkLst>
        </pc:picChg>
        <pc:cxnChg chg="del mod">
          <ac:chgData name="Janine De Vera" userId="4f0b0e91-e44d-4d5e-9df0-60b20dfe6090" providerId="ADAL" clId="{35511FFD-DD97-3848-80C1-32918EAC4232}" dt="2022-11-30T14:14:04.381" v="1334" actId="478"/>
          <ac:cxnSpMkLst>
            <pc:docMk/>
            <pc:sldMk cId="1731144580" sldId="286"/>
            <ac:cxnSpMk id="5" creationId="{5C147752-CA75-02A3-D417-203C1A7DA63E}"/>
          </ac:cxnSpMkLst>
        </pc:cxnChg>
        <pc:cxnChg chg="del mod">
          <ac:chgData name="Janine De Vera" userId="4f0b0e91-e44d-4d5e-9df0-60b20dfe6090" providerId="ADAL" clId="{35511FFD-DD97-3848-80C1-32918EAC4232}" dt="2022-11-30T14:27:51.462" v="1363" actId="478"/>
          <ac:cxnSpMkLst>
            <pc:docMk/>
            <pc:sldMk cId="1731144580" sldId="286"/>
            <ac:cxnSpMk id="11" creationId="{010C26A7-B23B-F053-AC01-E54E338F46F6}"/>
          </ac:cxnSpMkLst>
        </pc:cxnChg>
        <pc:cxnChg chg="add mod">
          <ac:chgData name="Janine De Vera" userId="4f0b0e91-e44d-4d5e-9df0-60b20dfe6090" providerId="ADAL" clId="{35511FFD-DD97-3848-80C1-32918EAC4232}" dt="2022-11-30T14:14:57.938" v="1362" actId="1038"/>
          <ac:cxnSpMkLst>
            <pc:docMk/>
            <pc:sldMk cId="1731144580" sldId="286"/>
            <ac:cxnSpMk id="15" creationId="{403D2467-673F-D6B1-60F5-E0F82105C9FD}"/>
          </ac:cxnSpMkLst>
        </pc:cxnChg>
        <pc:cxnChg chg="add mod">
          <ac:chgData name="Janine De Vera" userId="4f0b0e91-e44d-4d5e-9df0-60b20dfe6090" providerId="ADAL" clId="{35511FFD-DD97-3848-80C1-32918EAC4232}" dt="2022-11-30T14:33:08.215" v="1375" actId="208"/>
          <ac:cxnSpMkLst>
            <pc:docMk/>
            <pc:sldMk cId="1731144580" sldId="286"/>
            <ac:cxnSpMk id="17" creationId="{EE04697E-09BF-EED8-73E4-F1217B9F8596}"/>
          </ac:cxnSpMkLst>
        </pc:cxnChg>
      </pc:sldChg>
      <pc:sldChg chg="addSp delSp modSp add mod">
        <pc:chgData name="Janine De Vera" userId="4f0b0e91-e44d-4d5e-9df0-60b20dfe6090" providerId="ADAL" clId="{35511FFD-DD97-3848-80C1-32918EAC4232}" dt="2022-11-30T16:24:48.637" v="5768" actId="108"/>
        <pc:sldMkLst>
          <pc:docMk/>
          <pc:sldMk cId="3288015226" sldId="289"/>
        </pc:sldMkLst>
        <pc:spChg chg="mod">
          <ac:chgData name="Janine De Vera" userId="4f0b0e91-e44d-4d5e-9df0-60b20dfe6090" providerId="ADAL" clId="{35511FFD-DD97-3848-80C1-32918EAC4232}" dt="2022-11-30T16:24:48.637" v="5768" actId="108"/>
          <ac:spMkLst>
            <pc:docMk/>
            <pc:sldMk cId="3288015226" sldId="289"/>
            <ac:spMk id="2" creationId="{91958196-E9F6-4665-B7A5-739B36D9A4F1}"/>
          </ac:spMkLst>
        </pc:spChg>
        <pc:spChg chg="add del mod">
          <ac:chgData name="Janine De Vera" userId="4f0b0e91-e44d-4d5e-9df0-60b20dfe6090" providerId="ADAL" clId="{35511FFD-DD97-3848-80C1-32918EAC4232}" dt="2022-11-30T15:55:47.306" v="5654" actId="20577"/>
          <ac:spMkLst>
            <pc:docMk/>
            <pc:sldMk cId="3288015226" sldId="289"/>
            <ac:spMk id="6" creationId="{D37B1A97-BC45-299C-7ECF-8CF5B435AC11}"/>
          </ac:spMkLst>
        </pc:spChg>
        <pc:spChg chg="del">
          <ac:chgData name="Janine De Vera" userId="4f0b0e91-e44d-4d5e-9df0-60b20dfe6090" providerId="ADAL" clId="{35511FFD-DD97-3848-80C1-32918EAC4232}" dt="2022-11-30T14:52:46.758" v="1897" actId="478"/>
          <ac:spMkLst>
            <pc:docMk/>
            <pc:sldMk cId="3288015226" sldId="289"/>
            <ac:spMk id="8" creationId="{B4741185-AD73-D910-1A4F-E1FFAFFA2C6E}"/>
          </ac:spMkLst>
        </pc:spChg>
        <pc:spChg chg="add mod">
          <ac:chgData name="Janine De Vera" userId="4f0b0e91-e44d-4d5e-9df0-60b20dfe6090" providerId="ADAL" clId="{35511FFD-DD97-3848-80C1-32918EAC4232}" dt="2022-11-30T15:10:42.973" v="3494" actId="1036"/>
          <ac:spMkLst>
            <pc:docMk/>
            <pc:sldMk cId="3288015226" sldId="289"/>
            <ac:spMk id="9" creationId="{042971D6-1DA3-87FA-189B-A4278D8956F1}"/>
          </ac:spMkLst>
        </pc:spChg>
        <pc:spChg chg="add del mod">
          <ac:chgData name="Janine De Vera" userId="4f0b0e91-e44d-4d5e-9df0-60b20dfe6090" providerId="ADAL" clId="{35511FFD-DD97-3848-80C1-32918EAC4232}" dt="2022-11-30T15:02:12.720" v="2274" actId="478"/>
          <ac:spMkLst>
            <pc:docMk/>
            <pc:sldMk cId="3288015226" sldId="289"/>
            <ac:spMk id="11" creationId="{62C86893-2A97-9B3D-6610-2F8ECF10ED47}"/>
          </ac:spMkLst>
        </pc:spChg>
        <pc:spChg chg="add del mod">
          <ac:chgData name="Janine De Vera" userId="4f0b0e91-e44d-4d5e-9df0-60b20dfe6090" providerId="ADAL" clId="{35511FFD-DD97-3848-80C1-32918EAC4232}" dt="2022-11-30T15:39:30.646" v="4916" actId="478"/>
          <ac:spMkLst>
            <pc:docMk/>
            <pc:sldMk cId="3288015226" sldId="289"/>
            <ac:spMk id="12" creationId="{E576E994-5660-6355-D63A-6B43255BF8F6}"/>
          </ac:spMkLst>
        </pc:spChg>
        <pc:spChg chg="add del mod">
          <ac:chgData name="Janine De Vera" userId="4f0b0e91-e44d-4d5e-9df0-60b20dfe6090" providerId="ADAL" clId="{35511FFD-DD97-3848-80C1-32918EAC4232}" dt="2022-11-30T15:39:30.992" v="4918" actId="20577"/>
          <ac:spMkLst>
            <pc:docMk/>
            <pc:sldMk cId="3288015226" sldId="289"/>
            <ac:spMk id="19" creationId="{6CF2A319-A6EC-A440-10C6-97CBED7845C7}"/>
          </ac:spMkLst>
        </pc:spChg>
        <pc:spChg chg="del">
          <ac:chgData name="Janine De Vera" userId="4f0b0e91-e44d-4d5e-9df0-60b20dfe6090" providerId="ADAL" clId="{35511FFD-DD97-3848-80C1-32918EAC4232}" dt="2022-11-30T14:52:41.245" v="1896" actId="478"/>
          <ac:spMkLst>
            <pc:docMk/>
            <pc:sldMk cId="3288015226" sldId="289"/>
            <ac:spMk id="20" creationId="{43CEFEF6-695A-F224-CE90-4B5EC849B903}"/>
          </ac:spMkLst>
        </pc:spChg>
        <pc:spChg chg="add del mod">
          <ac:chgData name="Janine De Vera" userId="4f0b0e91-e44d-4d5e-9df0-60b20dfe6090" providerId="ADAL" clId="{35511FFD-DD97-3848-80C1-32918EAC4232}" dt="2022-11-30T15:43:39.737" v="4959" actId="1035"/>
          <ac:spMkLst>
            <pc:docMk/>
            <pc:sldMk cId="3288015226" sldId="289"/>
            <ac:spMk id="21" creationId="{3FEFD1F7-1B5F-EBE4-A329-1DF5E0778CE4}"/>
          </ac:spMkLst>
        </pc:spChg>
        <pc:spChg chg="add del mod">
          <ac:chgData name="Janine De Vera" userId="4f0b0e91-e44d-4d5e-9df0-60b20dfe6090" providerId="ADAL" clId="{35511FFD-DD97-3848-80C1-32918EAC4232}" dt="2022-11-30T15:09:19.721" v="3213"/>
          <ac:spMkLst>
            <pc:docMk/>
            <pc:sldMk cId="3288015226" sldId="289"/>
            <ac:spMk id="26" creationId="{FBD20032-DEEE-13E2-8109-8B8345545035}"/>
          </ac:spMkLst>
        </pc:spChg>
        <pc:spChg chg="add del mod">
          <ac:chgData name="Janine De Vera" userId="4f0b0e91-e44d-4d5e-9df0-60b20dfe6090" providerId="ADAL" clId="{35511FFD-DD97-3848-80C1-32918EAC4232}" dt="2022-11-30T15:46:12.133" v="5185" actId="20577"/>
          <ac:spMkLst>
            <pc:docMk/>
            <pc:sldMk cId="3288015226" sldId="289"/>
            <ac:spMk id="27" creationId="{65C630C5-77B4-19CB-0D8C-D4F561D89401}"/>
          </ac:spMkLst>
        </pc:spChg>
        <pc:spChg chg="add del mod">
          <ac:chgData name="Janine De Vera" userId="4f0b0e91-e44d-4d5e-9df0-60b20dfe6090" providerId="ADAL" clId="{35511FFD-DD97-3848-80C1-32918EAC4232}" dt="2022-11-30T15:12:43.908" v="3508" actId="478"/>
          <ac:spMkLst>
            <pc:docMk/>
            <pc:sldMk cId="3288015226" sldId="289"/>
            <ac:spMk id="29" creationId="{8625B6F3-C259-D2EA-E917-0A6B0637A1A5}"/>
          </ac:spMkLst>
        </pc:spChg>
        <pc:spChg chg="del">
          <ac:chgData name="Janine De Vera" userId="4f0b0e91-e44d-4d5e-9df0-60b20dfe6090" providerId="ADAL" clId="{35511FFD-DD97-3848-80C1-32918EAC4232}" dt="2022-11-30T14:52:49.680" v="1899" actId="478"/>
          <ac:spMkLst>
            <pc:docMk/>
            <pc:sldMk cId="3288015226" sldId="289"/>
            <ac:spMk id="30" creationId="{B9301CF0-9457-BACC-6ECF-E28C88025097}"/>
          </ac:spMkLst>
        </pc:spChg>
        <pc:spChg chg="del">
          <ac:chgData name="Janine De Vera" userId="4f0b0e91-e44d-4d5e-9df0-60b20dfe6090" providerId="ADAL" clId="{35511FFD-DD97-3848-80C1-32918EAC4232}" dt="2022-11-30T14:52:49.680" v="1899" actId="478"/>
          <ac:spMkLst>
            <pc:docMk/>
            <pc:sldMk cId="3288015226" sldId="289"/>
            <ac:spMk id="31" creationId="{73EF2153-0ECF-E20A-7302-3DB0A5EAD478}"/>
          </ac:spMkLst>
        </pc:spChg>
        <pc:picChg chg="add mod">
          <ac:chgData name="Janine De Vera" userId="4f0b0e91-e44d-4d5e-9df0-60b20dfe6090" providerId="ADAL" clId="{35511FFD-DD97-3848-80C1-32918EAC4232}" dt="2022-11-30T15:10:42.973" v="3494" actId="1036"/>
          <ac:picMkLst>
            <pc:docMk/>
            <pc:sldMk cId="3288015226" sldId="289"/>
            <ac:picMk id="5" creationId="{8BF5FFBC-CDB0-5892-096F-038DB8DA9BEC}"/>
          </ac:picMkLst>
        </pc:picChg>
        <pc:picChg chg="del">
          <ac:chgData name="Janine De Vera" userId="4f0b0e91-e44d-4d5e-9df0-60b20dfe6090" providerId="ADAL" clId="{35511FFD-DD97-3848-80C1-32918EAC4232}" dt="2022-11-30T14:52:27.932" v="1892" actId="478"/>
          <ac:picMkLst>
            <pc:docMk/>
            <pc:sldMk cId="3288015226" sldId="289"/>
            <ac:picMk id="13" creationId="{11419793-5D55-D831-F6E1-42D7EEA10BF7}"/>
          </ac:picMkLst>
        </pc:picChg>
        <pc:picChg chg="del mod">
          <ac:chgData name="Janine De Vera" userId="4f0b0e91-e44d-4d5e-9df0-60b20dfe6090" providerId="ADAL" clId="{35511FFD-DD97-3848-80C1-32918EAC4232}" dt="2022-11-30T14:52:47.600" v="1898" actId="478"/>
          <ac:picMkLst>
            <pc:docMk/>
            <pc:sldMk cId="3288015226" sldId="289"/>
            <ac:picMk id="28" creationId="{6859A0DF-2617-3EDA-E0F8-6C467683392D}"/>
          </ac:picMkLst>
        </pc:picChg>
        <pc:cxnChg chg="add mod">
          <ac:chgData name="Janine De Vera" userId="4f0b0e91-e44d-4d5e-9df0-60b20dfe6090" providerId="ADAL" clId="{35511FFD-DD97-3848-80C1-32918EAC4232}" dt="2022-11-30T15:30:27.326" v="4471" actId="1038"/>
          <ac:cxnSpMkLst>
            <pc:docMk/>
            <pc:sldMk cId="3288015226" sldId="289"/>
            <ac:cxnSpMk id="7" creationId="{FD4BB7D4-5EB0-1513-E25C-26F0862FB7C5}"/>
          </ac:cxnSpMkLst>
        </pc:cxnChg>
        <pc:cxnChg chg="add mod">
          <ac:chgData name="Janine De Vera" userId="4f0b0e91-e44d-4d5e-9df0-60b20dfe6090" providerId="ADAL" clId="{35511FFD-DD97-3848-80C1-32918EAC4232}" dt="2022-11-30T15:10:42.973" v="3494" actId="1036"/>
          <ac:cxnSpMkLst>
            <pc:docMk/>
            <pc:sldMk cId="3288015226" sldId="289"/>
            <ac:cxnSpMk id="10" creationId="{63030AA1-CACF-4E1B-FE3A-DEABA46ED72D}"/>
          </ac:cxnSpMkLst>
        </pc:cxnChg>
        <pc:cxnChg chg="add del mod">
          <ac:chgData name="Janine De Vera" userId="4f0b0e91-e44d-4d5e-9df0-60b20dfe6090" providerId="ADAL" clId="{35511FFD-DD97-3848-80C1-32918EAC4232}" dt="2022-11-30T15:07:17.280" v="2953" actId="478"/>
          <ac:cxnSpMkLst>
            <pc:docMk/>
            <pc:sldMk cId="3288015226" sldId="289"/>
            <ac:cxnSpMk id="14" creationId="{862B22F8-6DC2-58A2-02E9-1EEFD5E85093}"/>
          </ac:cxnSpMkLst>
        </pc:cxnChg>
        <pc:cxnChg chg="del">
          <ac:chgData name="Janine De Vera" userId="4f0b0e91-e44d-4d5e-9df0-60b20dfe6090" providerId="ADAL" clId="{35511FFD-DD97-3848-80C1-32918EAC4232}" dt="2022-11-30T14:52:36.942" v="1895" actId="478"/>
          <ac:cxnSpMkLst>
            <pc:docMk/>
            <pc:sldMk cId="3288015226" sldId="289"/>
            <ac:cxnSpMk id="15" creationId="{403D2467-673F-D6B1-60F5-E0F82105C9FD}"/>
          </ac:cxnSpMkLst>
        </pc:cxnChg>
        <pc:cxnChg chg="del">
          <ac:chgData name="Janine De Vera" userId="4f0b0e91-e44d-4d5e-9df0-60b20dfe6090" providerId="ADAL" clId="{35511FFD-DD97-3848-80C1-32918EAC4232}" dt="2022-11-30T14:52:41.245" v="1896" actId="478"/>
          <ac:cxnSpMkLst>
            <pc:docMk/>
            <pc:sldMk cId="3288015226" sldId="289"/>
            <ac:cxnSpMk id="17" creationId="{EE04697E-09BF-EED8-73E4-F1217B9F8596}"/>
          </ac:cxnSpMkLst>
        </pc:cxnChg>
        <pc:cxnChg chg="add del mod">
          <ac:chgData name="Janine De Vera" userId="4f0b0e91-e44d-4d5e-9df0-60b20dfe6090" providerId="ADAL" clId="{35511FFD-DD97-3848-80C1-32918EAC4232}" dt="2022-11-30T15:43:39.737" v="4959" actId="1035"/>
          <ac:cxnSpMkLst>
            <pc:docMk/>
            <pc:sldMk cId="3288015226" sldId="289"/>
            <ac:cxnSpMk id="22" creationId="{8A6E06F0-0D2F-FD60-F8D1-C8CE94BBB1B6}"/>
          </ac:cxnSpMkLst>
        </pc:cxnChg>
        <pc:cxnChg chg="add del mod">
          <ac:chgData name="Janine De Vera" userId="4f0b0e91-e44d-4d5e-9df0-60b20dfe6090" providerId="ADAL" clId="{35511FFD-DD97-3848-80C1-32918EAC4232}" dt="2022-11-30T15:39:31.165" v="4919" actId="478"/>
          <ac:cxnSpMkLst>
            <pc:docMk/>
            <pc:sldMk cId="3288015226" sldId="289"/>
            <ac:cxnSpMk id="25" creationId="{155A61DE-6362-E727-E86B-C027F232C167}"/>
          </ac:cxnSpMkLst>
        </pc:cxnChg>
      </pc:sldChg>
      <pc:sldChg chg="addSp delSp modSp add del mod">
        <pc:chgData name="Janine De Vera" userId="4f0b0e91-e44d-4d5e-9df0-60b20dfe6090" providerId="ADAL" clId="{35511FFD-DD97-3848-80C1-32918EAC4232}" dt="2022-11-30T15:21:04.476" v="4046" actId="2696"/>
        <pc:sldMkLst>
          <pc:docMk/>
          <pc:sldMk cId="510441338" sldId="290"/>
        </pc:sldMkLst>
        <pc:spChg chg="del">
          <ac:chgData name="Janine De Vera" userId="4f0b0e91-e44d-4d5e-9df0-60b20dfe6090" providerId="ADAL" clId="{35511FFD-DD97-3848-80C1-32918EAC4232}" dt="2022-11-30T14:58:47.433" v="2016" actId="478"/>
          <ac:spMkLst>
            <pc:docMk/>
            <pc:sldMk cId="510441338" sldId="290"/>
            <ac:spMk id="6" creationId="{D37B1A97-BC45-299C-7ECF-8CF5B435AC11}"/>
          </ac:spMkLst>
        </pc:spChg>
        <pc:spChg chg="del">
          <ac:chgData name="Janine De Vera" userId="4f0b0e91-e44d-4d5e-9df0-60b20dfe6090" providerId="ADAL" clId="{35511FFD-DD97-3848-80C1-32918EAC4232}" dt="2022-11-30T14:58:47.433" v="2016" actId="478"/>
          <ac:spMkLst>
            <pc:docMk/>
            <pc:sldMk cId="510441338" sldId="290"/>
            <ac:spMk id="9" creationId="{042971D6-1DA3-87FA-189B-A4278D8956F1}"/>
          </ac:spMkLst>
        </pc:spChg>
        <pc:spChg chg="del">
          <ac:chgData name="Janine De Vera" userId="4f0b0e91-e44d-4d5e-9df0-60b20dfe6090" providerId="ADAL" clId="{35511FFD-DD97-3848-80C1-32918EAC4232}" dt="2022-11-30T14:58:53.592" v="2017" actId="478"/>
          <ac:spMkLst>
            <pc:docMk/>
            <pc:sldMk cId="510441338" sldId="290"/>
            <ac:spMk id="11" creationId="{62C86893-2A97-9B3D-6610-2F8ECF10ED47}"/>
          </ac:spMkLst>
        </pc:spChg>
        <pc:picChg chg="del">
          <ac:chgData name="Janine De Vera" userId="4f0b0e91-e44d-4d5e-9df0-60b20dfe6090" providerId="ADAL" clId="{35511FFD-DD97-3848-80C1-32918EAC4232}" dt="2022-11-30T14:58:43.689" v="2015" actId="478"/>
          <ac:picMkLst>
            <pc:docMk/>
            <pc:sldMk cId="510441338" sldId="290"/>
            <ac:picMk id="5" creationId="{8BF5FFBC-CDB0-5892-096F-038DB8DA9BEC}"/>
          </ac:picMkLst>
        </pc:picChg>
        <pc:picChg chg="add del mod">
          <ac:chgData name="Janine De Vera" userId="4f0b0e91-e44d-4d5e-9df0-60b20dfe6090" providerId="ADAL" clId="{35511FFD-DD97-3848-80C1-32918EAC4232}" dt="2022-11-30T15:21:01.996" v="4045" actId="478"/>
          <ac:picMkLst>
            <pc:docMk/>
            <pc:sldMk cId="510441338" sldId="290"/>
            <ac:picMk id="8" creationId="{34004F68-26FC-6AEC-E7BD-9A30F4B76E96}"/>
          </ac:picMkLst>
        </pc:picChg>
        <pc:cxnChg chg="del">
          <ac:chgData name="Janine De Vera" userId="4f0b0e91-e44d-4d5e-9df0-60b20dfe6090" providerId="ADAL" clId="{35511FFD-DD97-3848-80C1-32918EAC4232}" dt="2022-11-30T14:58:47.433" v="2016" actId="478"/>
          <ac:cxnSpMkLst>
            <pc:docMk/>
            <pc:sldMk cId="510441338" sldId="290"/>
            <ac:cxnSpMk id="7" creationId="{FD4BB7D4-5EB0-1513-E25C-26F0862FB7C5}"/>
          </ac:cxnSpMkLst>
        </pc:cxnChg>
        <pc:cxnChg chg="del">
          <ac:chgData name="Janine De Vera" userId="4f0b0e91-e44d-4d5e-9df0-60b20dfe6090" providerId="ADAL" clId="{35511FFD-DD97-3848-80C1-32918EAC4232}" dt="2022-11-30T14:58:47.433" v="2016" actId="478"/>
          <ac:cxnSpMkLst>
            <pc:docMk/>
            <pc:sldMk cId="510441338" sldId="290"/>
            <ac:cxnSpMk id="10" creationId="{63030AA1-CACF-4E1B-FE3A-DEABA46ED72D}"/>
          </ac:cxnSpMkLst>
        </pc:cxnChg>
      </pc:sldChg>
      <pc:sldChg chg="addSp delSp modSp add mod">
        <pc:chgData name="Janine De Vera" userId="4f0b0e91-e44d-4d5e-9df0-60b20dfe6090" providerId="ADAL" clId="{35511FFD-DD97-3848-80C1-32918EAC4232}" dt="2022-12-01T08:19:56.467" v="5963" actId="14100"/>
        <pc:sldMkLst>
          <pc:docMk/>
          <pc:sldMk cId="3575767116" sldId="291"/>
        </pc:sldMkLst>
        <pc:spChg chg="del">
          <ac:chgData name="Janine De Vera" userId="4f0b0e91-e44d-4d5e-9df0-60b20dfe6090" providerId="ADAL" clId="{35511FFD-DD97-3848-80C1-32918EAC4232}" dt="2022-11-30T15:13:09.733" v="3513" actId="478"/>
          <ac:spMkLst>
            <pc:docMk/>
            <pc:sldMk cId="3575767116" sldId="291"/>
            <ac:spMk id="6" creationId="{D37B1A97-BC45-299C-7ECF-8CF5B435AC11}"/>
          </ac:spMkLst>
        </pc:spChg>
        <pc:spChg chg="del">
          <ac:chgData name="Janine De Vera" userId="4f0b0e91-e44d-4d5e-9df0-60b20dfe6090" providerId="ADAL" clId="{35511FFD-DD97-3848-80C1-32918EAC4232}" dt="2022-11-30T15:13:12.143" v="3514" actId="478"/>
          <ac:spMkLst>
            <pc:docMk/>
            <pc:sldMk cId="3575767116" sldId="291"/>
            <ac:spMk id="9" creationId="{042971D6-1DA3-87FA-189B-A4278D8956F1}"/>
          </ac:spMkLst>
        </pc:spChg>
        <pc:spChg chg="del">
          <ac:chgData name="Janine De Vera" userId="4f0b0e91-e44d-4d5e-9df0-60b20dfe6090" providerId="ADAL" clId="{35511FFD-DD97-3848-80C1-32918EAC4232}" dt="2022-11-30T15:13:25.745" v="3517" actId="478"/>
          <ac:spMkLst>
            <pc:docMk/>
            <pc:sldMk cId="3575767116" sldId="291"/>
            <ac:spMk id="12" creationId="{E576E994-5660-6355-D63A-6B43255BF8F6}"/>
          </ac:spMkLst>
        </pc:spChg>
        <pc:spChg chg="del">
          <ac:chgData name="Janine De Vera" userId="4f0b0e91-e44d-4d5e-9df0-60b20dfe6090" providerId="ADAL" clId="{35511FFD-DD97-3848-80C1-32918EAC4232}" dt="2022-11-30T15:13:27.849" v="3518" actId="478"/>
          <ac:spMkLst>
            <pc:docMk/>
            <pc:sldMk cId="3575767116" sldId="291"/>
            <ac:spMk id="19" creationId="{6CF2A319-A6EC-A440-10C6-97CBED7845C7}"/>
          </ac:spMkLst>
        </pc:spChg>
        <pc:spChg chg="add del mod">
          <ac:chgData name="Janine De Vera" userId="4f0b0e91-e44d-4d5e-9df0-60b20dfe6090" providerId="ADAL" clId="{35511FFD-DD97-3848-80C1-32918EAC4232}" dt="2022-11-30T15:20:35.373" v="4038" actId="478"/>
          <ac:spMkLst>
            <pc:docMk/>
            <pc:sldMk cId="3575767116" sldId="291"/>
            <ac:spMk id="20" creationId="{8C1A2AD4-CA32-E8A9-E202-C8889025F978}"/>
          </ac:spMkLst>
        </pc:spChg>
        <pc:spChg chg="mod">
          <ac:chgData name="Janine De Vera" userId="4f0b0e91-e44d-4d5e-9df0-60b20dfe6090" providerId="ADAL" clId="{35511FFD-DD97-3848-80C1-32918EAC4232}" dt="2022-11-30T15:33:16.672" v="4737" actId="1035"/>
          <ac:spMkLst>
            <pc:docMk/>
            <pc:sldMk cId="3575767116" sldId="291"/>
            <ac:spMk id="21" creationId="{3FEFD1F7-1B5F-EBE4-A329-1DF5E0778CE4}"/>
          </ac:spMkLst>
        </pc:spChg>
        <pc:spChg chg="add del mod">
          <ac:chgData name="Janine De Vera" userId="4f0b0e91-e44d-4d5e-9df0-60b20dfe6090" providerId="ADAL" clId="{35511FFD-DD97-3848-80C1-32918EAC4232}" dt="2022-11-30T15:30:55.626" v="4504" actId="164"/>
          <ac:spMkLst>
            <pc:docMk/>
            <pc:sldMk cId="3575767116" sldId="291"/>
            <ac:spMk id="23" creationId="{EEFA9566-9AB3-F6A7-5B42-6106CA1851DB}"/>
          </ac:spMkLst>
        </pc:spChg>
        <pc:spChg chg="add mod">
          <ac:chgData name="Janine De Vera" userId="4f0b0e91-e44d-4d5e-9df0-60b20dfe6090" providerId="ADAL" clId="{35511FFD-DD97-3848-80C1-32918EAC4232}" dt="2022-11-30T15:30:55.626" v="4504" actId="164"/>
          <ac:spMkLst>
            <pc:docMk/>
            <pc:sldMk cId="3575767116" sldId="291"/>
            <ac:spMk id="24" creationId="{60B22482-EC95-6C0E-CA97-CEC49D51AA06}"/>
          </ac:spMkLst>
        </pc:spChg>
        <pc:spChg chg="add mod">
          <ac:chgData name="Janine De Vera" userId="4f0b0e91-e44d-4d5e-9df0-60b20dfe6090" providerId="ADAL" clId="{35511FFD-DD97-3848-80C1-32918EAC4232}" dt="2022-11-30T15:30:55.626" v="4504" actId="164"/>
          <ac:spMkLst>
            <pc:docMk/>
            <pc:sldMk cId="3575767116" sldId="291"/>
            <ac:spMk id="26" creationId="{464669DD-9E0D-ECC8-D6B6-0C53E09C7B0E}"/>
          </ac:spMkLst>
        </pc:spChg>
        <pc:spChg chg="mod">
          <ac:chgData name="Janine De Vera" userId="4f0b0e91-e44d-4d5e-9df0-60b20dfe6090" providerId="ADAL" clId="{35511FFD-DD97-3848-80C1-32918EAC4232}" dt="2022-11-30T15:33:16.672" v="4737" actId="1035"/>
          <ac:spMkLst>
            <pc:docMk/>
            <pc:sldMk cId="3575767116" sldId="291"/>
            <ac:spMk id="27" creationId="{65C630C5-77B4-19CB-0D8C-D4F561D89401}"/>
          </ac:spMkLst>
        </pc:spChg>
        <pc:spChg chg="add del mod">
          <ac:chgData name="Janine De Vera" userId="4f0b0e91-e44d-4d5e-9df0-60b20dfe6090" providerId="ADAL" clId="{35511FFD-DD97-3848-80C1-32918EAC4232}" dt="2022-11-30T15:37:25.964" v="4892" actId="478"/>
          <ac:spMkLst>
            <pc:docMk/>
            <pc:sldMk cId="3575767116" sldId="291"/>
            <ac:spMk id="29" creationId="{7C61450E-3721-27E8-6BE4-5A9687465C6F}"/>
          </ac:spMkLst>
        </pc:spChg>
        <pc:spChg chg="add mod">
          <ac:chgData name="Janine De Vera" userId="4f0b0e91-e44d-4d5e-9df0-60b20dfe6090" providerId="ADAL" clId="{35511FFD-DD97-3848-80C1-32918EAC4232}" dt="2022-12-01T08:19:56.467" v="5963" actId="14100"/>
          <ac:spMkLst>
            <pc:docMk/>
            <pc:sldMk cId="3575767116" sldId="291"/>
            <ac:spMk id="30" creationId="{3C4D9E31-7F41-2771-0C86-1AEA4CCCA2E4}"/>
          </ac:spMkLst>
        </pc:spChg>
        <pc:grpChg chg="add mod">
          <ac:chgData name="Janine De Vera" userId="4f0b0e91-e44d-4d5e-9df0-60b20dfe6090" providerId="ADAL" clId="{35511FFD-DD97-3848-80C1-32918EAC4232}" dt="2022-11-30T15:31:30.322" v="4546" actId="1076"/>
          <ac:grpSpMkLst>
            <pc:docMk/>
            <pc:sldMk cId="3575767116" sldId="291"/>
            <ac:grpSpMk id="28" creationId="{29E7EEEF-3029-22C3-4E89-E5B39C430B8A}"/>
          </ac:grpSpMkLst>
        </pc:grpChg>
        <pc:picChg chg="mod">
          <ac:chgData name="Janine De Vera" userId="4f0b0e91-e44d-4d5e-9df0-60b20dfe6090" providerId="ADAL" clId="{35511FFD-DD97-3848-80C1-32918EAC4232}" dt="2022-11-30T15:30:55.626" v="4504" actId="164"/>
          <ac:picMkLst>
            <pc:docMk/>
            <pc:sldMk cId="3575767116" sldId="291"/>
            <ac:picMk id="5" creationId="{8BF5FFBC-CDB0-5892-096F-038DB8DA9BEC}"/>
          </ac:picMkLst>
        </pc:picChg>
        <pc:cxnChg chg="del">
          <ac:chgData name="Janine De Vera" userId="4f0b0e91-e44d-4d5e-9df0-60b20dfe6090" providerId="ADAL" clId="{35511FFD-DD97-3848-80C1-32918EAC4232}" dt="2022-11-30T15:13:12.143" v="3514" actId="478"/>
          <ac:cxnSpMkLst>
            <pc:docMk/>
            <pc:sldMk cId="3575767116" sldId="291"/>
            <ac:cxnSpMk id="7" creationId="{FD4BB7D4-5EB0-1513-E25C-26F0862FB7C5}"/>
          </ac:cxnSpMkLst>
        </pc:cxnChg>
        <pc:cxnChg chg="add del mod">
          <ac:chgData name="Janine De Vera" userId="4f0b0e91-e44d-4d5e-9df0-60b20dfe6090" providerId="ADAL" clId="{35511FFD-DD97-3848-80C1-32918EAC4232}" dt="2022-11-30T15:18:03.403" v="3593" actId="478"/>
          <ac:cxnSpMkLst>
            <pc:docMk/>
            <pc:sldMk cId="3575767116" sldId="291"/>
            <ac:cxnSpMk id="8" creationId="{0D3CCBB4-B0F0-CC6D-43C3-6FE3EE163280}"/>
          </ac:cxnSpMkLst>
        </pc:cxnChg>
        <pc:cxnChg chg="del">
          <ac:chgData name="Janine De Vera" userId="4f0b0e91-e44d-4d5e-9df0-60b20dfe6090" providerId="ADAL" clId="{35511FFD-DD97-3848-80C1-32918EAC4232}" dt="2022-11-30T15:13:13.804" v="3515" actId="478"/>
          <ac:cxnSpMkLst>
            <pc:docMk/>
            <pc:sldMk cId="3575767116" sldId="291"/>
            <ac:cxnSpMk id="10" creationId="{63030AA1-CACF-4E1B-FE3A-DEABA46ED72D}"/>
          </ac:cxnSpMkLst>
        </pc:cxnChg>
        <pc:cxnChg chg="mod">
          <ac:chgData name="Janine De Vera" userId="4f0b0e91-e44d-4d5e-9df0-60b20dfe6090" providerId="ADAL" clId="{35511FFD-DD97-3848-80C1-32918EAC4232}" dt="2022-11-30T15:33:16.672" v="4737" actId="1035"/>
          <ac:cxnSpMkLst>
            <pc:docMk/>
            <pc:sldMk cId="3575767116" sldId="291"/>
            <ac:cxnSpMk id="22" creationId="{8A6E06F0-0D2F-FD60-F8D1-C8CE94BBB1B6}"/>
          </ac:cxnSpMkLst>
        </pc:cxnChg>
        <pc:cxnChg chg="del">
          <ac:chgData name="Janine De Vera" userId="4f0b0e91-e44d-4d5e-9df0-60b20dfe6090" providerId="ADAL" clId="{35511FFD-DD97-3848-80C1-32918EAC4232}" dt="2022-11-30T15:13:25.745" v="3517" actId="478"/>
          <ac:cxnSpMkLst>
            <pc:docMk/>
            <pc:sldMk cId="3575767116" sldId="291"/>
            <ac:cxnSpMk id="25" creationId="{155A61DE-6362-E727-E86B-C027F232C167}"/>
          </ac:cxnSpMkLst>
        </pc:cxnChg>
      </pc:sldChg>
      <pc:sldChg chg="addSp delSp add del mod">
        <pc:chgData name="Janine De Vera" userId="4f0b0e91-e44d-4d5e-9df0-60b20dfe6090" providerId="ADAL" clId="{35511FFD-DD97-3848-80C1-32918EAC4232}" dt="2022-11-30T15:37:50.947" v="4896" actId="2696"/>
        <pc:sldMkLst>
          <pc:docMk/>
          <pc:sldMk cId="3547876650" sldId="297"/>
        </pc:sldMkLst>
        <pc:spChg chg="add del">
          <ac:chgData name="Janine De Vera" userId="4f0b0e91-e44d-4d5e-9df0-60b20dfe6090" providerId="ADAL" clId="{35511FFD-DD97-3848-80C1-32918EAC4232}" dt="2022-11-30T15:37:44.706" v="4894" actId="478"/>
          <ac:spMkLst>
            <pc:docMk/>
            <pc:sldMk cId="3547876650" sldId="297"/>
            <ac:spMk id="27" creationId="{65C630C5-77B4-19CB-0D8C-D4F561D89401}"/>
          </ac:spMkLst>
        </pc:spChg>
        <pc:grpChg chg="del">
          <ac:chgData name="Janine De Vera" userId="4f0b0e91-e44d-4d5e-9df0-60b20dfe6090" providerId="ADAL" clId="{35511FFD-DD97-3848-80C1-32918EAC4232}" dt="2022-11-30T15:32:37.140" v="4683" actId="478"/>
          <ac:grpSpMkLst>
            <pc:docMk/>
            <pc:sldMk cId="3547876650" sldId="297"/>
            <ac:grpSpMk id="28" creationId="{29E7EEEF-3029-22C3-4E89-E5B39C430B8A}"/>
          </ac:grpSpMkLst>
        </pc:grpChg>
      </pc:sldChg>
      <pc:sldChg chg="add del">
        <pc:chgData name="Janine De Vera" userId="4f0b0e91-e44d-4d5e-9df0-60b20dfe6090" providerId="ADAL" clId="{35511FFD-DD97-3848-80C1-32918EAC4232}" dt="2022-11-30T15:21:58.561" v="4048"/>
        <pc:sldMkLst>
          <pc:docMk/>
          <pc:sldMk cId="3700715690" sldId="297"/>
        </pc:sldMkLst>
      </pc:sldChg>
      <pc:sldChg chg="modSp mod">
        <pc:chgData name="Janine De Vera" userId="4f0b0e91-e44d-4d5e-9df0-60b20dfe6090" providerId="ADAL" clId="{35511FFD-DD97-3848-80C1-32918EAC4232}" dt="2022-12-01T08:01:21.788" v="5929" actId="14100"/>
        <pc:sldMkLst>
          <pc:docMk/>
          <pc:sldMk cId="3045615626" sldId="298"/>
        </pc:sldMkLst>
        <pc:spChg chg="mod">
          <ac:chgData name="Janine De Vera" userId="4f0b0e91-e44d-4d5e-9df0-60b20dfe6090" providerId="ADAL" clId="{35511FFD-DD97-3848-80C1-32918EAC4232}" dt="2022-12-01T08:01:21.788" v="5929" actId="14100"/>
          <ac:spMkLst>
            <pc:docMk/>
            <pc:sldMk cId="3045615626" sldId="298"/>
            <ac:spMk id="8" creationId="{95591523-DCEF-DAB6-3058-6D25310F47FE}"/>
          </ac:spMkLst>
        </pc:spChg>
      </pc:sldChg>
      <pc:sldChg chg="modSp mod">
        <pc:chgData name="Janine De Vera" userId="4f0b0e91-e44d-4d5e-9df0-60b20dfe6090" providerId="ADAL" clId="{35511FFD-DD97-3848-80C1-32918EAC4232}" dt="2022-12-01T08:01:30.781" v="5930"/>
        <pc:sldMkLst>
          <pc:docMk/>
          <pc:sldMk cId="809874930" sldId="299"/>
        </pc:sldMkLst>
        <pc:spChg chg="mod">
          <ac:chgData name="Janine De Vera" userId="4f0b0e91-e44d-4d5e-9df0-60b20dfe6090" providerId="ADAL" clId="{35511FFD-DD97-3848-80C1-32918EAC4232}" dt="2022-12-01T08:01:30.781" v="5930"/>
          <ac:spMkLst>
            <pc:docMk/>
            <pc:sldMk cId="809874930" sldId="299"/>
            <ac:spMk id="2" creationId="{91958196-E9F6-4665-B7A5-739B36D9A4F1}"/>
          </ac:spMkLst>
        </pc:spChg>
      </pc:sldChg>
      <pc:sldChg chg="modSp add del mod">
        <pc:chgData name="Janine De Vera" userId="4f0b0e91-e44d-4d5e-9df0-60b20dfe6090" providerId="ADAL" clId="{35511FFD-DD97-3848-80C1-32918EAC4232}" dt="2022-11-30T15:38:43.795" v="4901" actId="2696"/>
        <pc:sldMkLst>
          <pc:docMk/>
          <pc:sldMk cId="2725757253" sldId="299"/>
        </pc:sldMkLst>
        <pc:picChg chg="mod">
          <ac:chgData name="Janine De Vera" userId="4f0b0e91-e44d-4d5e-9df0-60b20dfe6090" providerId="ADAL" clId="{35511FFD-DD97-3848-80C1-32918EAC4232}" dt="2022-11-30T15:38:28.569" v="4900" actId="14826"/>
          <ac:picMkLst>
            <pc:docMk/>
            <pc:sldMk cId="2725757253" sldId="299"/>
            <ac:picMk id="5" creationId="{8BF5FFBC-CDB0-5892-096F-038DB8DA9BEC}"/>
          </ac:picMkLst>
        </pc:picChg>
      </pc:sldChg>
      <pc:sldChg chg="modSp mod">
        <pc:chgData name="Janine De Vera" userId="4f0b0e91-e44d-4d5e-9df0-60b20dfe6090" providerId="ADAL" clId="{35511FFD-DD97-3848-80C1-32918EAC4232}" dt="2022-12-01T08:01:34.325" v="5931"/>
        <pc:sldMkLst>
          <pc:docMk/>
          <pc:sldMk cId="2226923456" sldId="300"/>
        </pc:sldMkLst>
        <pc:spChg chg="mod">
          <ac:chgData name="Janine De Vera" userId="4f0b0e91-e44d-4d5e-9df0-60b20dfe6090" providerId="ADAL" clId="{35511FFD-DD97-3848-80C1-32918EAC4232}" dt="2022-12-01T08:01:34.325" v="5931"/>
          <ac:spMkLst>
            <pc:docMk/>
            <pc:sldMk cId="2226923456" sldId="300"/>
            <ac:spMk id="2" creationId="{91958196-E9F6-4665-B7A5-739B36D9A4F1}"/>
          </ac:spMkLst>
        </pc:spChg>
      </pc:sldChg>
      <pc:sldChg chg="addSp delSp modSp add mod ord modShow">
        <pc:chgData name="Janine De Vera" userId="4f0b0e91-e44d-4d5e-9df0-60b20dfe6090" providerId="ADAL" clId="{35511FFD-DD97-3848-80C1-32918EAC4232}" dt="2022-11-30T15:54:44.457" v="5636" actId="729"/>
        <pc:sldMkLst>
          <pc:docMk/>
          <pc:sldMk cId="953872542" sldId="302"/>
        </pc:sldMkLst>
        <pc:spChg chg="del">
          <ac:chgData name="Janine De Vera" userId="4f0b0e91-e44d-4d5e-9df0-60b20dfe6090" providerId="ADAL" clId="{35511FFD-DD97-3848-80C1-32918EAC4232}" dt="2022-11-30T15:39:00.324" v="4903" actId="478"/>
          <ac:spMkLst>
            <pc:docMk/>
            <pc:sldMk cId="953872542" sldId="302"/>
            <ac:spMk id="6" creationId="{D37B1A97-BC45-299C-7ECF-8CF5B435AC11}"/>
          </ac:spMkLst>
        </pc:spChg>
        <pc:spChg chg="del">
          <ac:chgData name="Janine De Vera" userId="4f0b0e91-e44d-4d5e-9df0-60b20dfe6090" providerId="ADAL" clId="{35511FFD-DD97-3848-80C1-32918EAC4232}" dt="2022-11-30T15:39:03.958" v="4905" actId="478"/>
          <ac:spMkLst>
            <pc:docMk/>
            <pc:sldMk cId="953872542" sldId="302"/>
            <ac:spMk id="9" creationId="{042971D6-1DA3-87FA-189B-A4278D8956F1}"/>
          </ac:spMkLst>
        </pc:spChg>
        <pc:spChg chg="del mod">
          <ac:chgData name="Janine De Vera" userId="4f0b0e91-e44d-4d5e-9df0-60b20dfe6090" providerId="ADAL" clId="{35511FFD-DD97-3848-80C1-32918EAC4232}" dt="2022-11-30T15:39:50.568" v="4933" actId="478"/>
          <ac:spMkLst>
            <pc:docMk/>
            <pc:sldMk cId="953872542" sldId="302"/>
            <ac:spMk id="12" creationId="{E576E994-5660-6355-D63A-6B43255BF8F6}"/>
          </ac:spMkLst>
        </pc:spChg>
        <pc:spChg chg="del">
          <ac:chgData name="Janine De Vera" userId="4f0b0e91-e44d-4d5e-9df0-60b20dfe6090" providerId="ADAL" clId="{35511FFD-DD97-3848-80C1-32918EAC4232}" dt="2022-11-30T15:39:42.961" v="4927" actId="478"/>
          <ac:spMkLst>
            <pc:docMk/>
            <pc:sldMk cId="953872542" sldId="302"/>
            <ac:spMk id="19" creationId="{6CF2A319-A6EC-A440-10C6-97CBED7845C7}"/>
          </ac:spMkLst>
        </pc:spChg>
        <pc:spChg chg="del">
          <ac:chgData name="Janine De Vera" userId="4f0b0e91-e44d-4d5e-9df0-60b20dfe6090" providerId="ADAL" clId="{35511FFD-DD97-3848-80C1-32918EAC4232}" dt="2022-11-30T15:39:40.757" v="4926" actId="478"/>
          <ac:spMkLst>
            <pc:docMk/>
            <pc:sldMk cId="953872542" sldId="302"/>
            <ac:spMk id="21" creationId="{3FEFD1F7-1B5F-EBE4-A329-1DF5E0778CE4}"/>
          </ac:spMkLst>
        </pc:spChg>
        <pc:spChg chg="del">
          <ac:chgData name="Janine De Vera" userId="4f0b0e91-e44d-4d5e-9df0-60b20dfe6090" providerId="ADAL" clId="{35511FFD-DD97-3848-80C1-32918EAC4232}" dt="2022-11-30T15:39:38.232" v="4924" actId="478"/>
          <ac:spMkLst>
            <pc:docMk/>
            <pc:sldMk cId="953872542" sldId="302"/>
            <ac:spMk id="27" creationId="{65C630C5-77B4-19CB-0D8C-D4F561D89401}"/>
          </ac:spMkLst>
        </pc:spChg>
        <pc:picChg chg="add del mod">
          <ac:chgData name="Janine De Vera" userId="4f0b0e91-e44d-4d5e-9df0-60b20dfe6090" providerId="ADAL" clId="{35511FFD-DD97-3848-80C1-32918EAC4232}" dt="2022-11-30T15:41:55.935" v="4939" actId="478"/>
          <ac:picMkLst>
            <pc:docMk/>
            <pc:sldMk cId="953872542" sldId="302"/>
            <ac:picMk id="5" creationId="{8BF5FFBC-CDB0-5892-096F-038DB8DA9BEC}"/>
          </ac:picMkLst>
        </pc:picChg>
        <pc:picChg chg="add mod">
          <ac:chgData name="Janine De Vera" userId="4f0b0e91-e44d-4d5e-9df0-60b20dfe6090" providerId="ADAL" clId="{35511FFD-DD97-3848-80C1-32918EAC4232}" dt="2022-11-30T15:42:15.722" v="4945" actId="1076"/>
          <ac:picMkLst>
            <pc:docMk/>
            <pc:sldMk cId="953872542" sldId="302"/>
            <ac:picMk id="8" creationId="{3B2B8F57-0209-A6BA-AC15-80F74F45C7A4}"/>
          </ac:picMkLst>
        </pc:picChg>
        <pc:cxnChg chg="del">
          <ac:chgData name="Janine De Vera" userId="4f0b0e91-e44d-4d5e-9df0-60b20dfe6090" providerId="ADAL" clId="{35511FFD-DD97-3848-80C1-32918EAC4232}" dt="2022-11-30T15:39:01.593" v="4904" actId="478"/>
          <ac:cxnSpMkLst>
            <pc:docMk/>
            <pc:sldMk cId="953872542" sldId="302"/>
            <ac:cxnSpMk id="7" creationId="{FD4BB7D4-5EB0-1513-E25C-26F0862FB7C5}"/>
          </ac:cxnSpMkLst>
        </pc:cxnChg>
        <pc:cxnChg chg="add del">
          <ac:chgData name="Janine De Vera" userId="4f0b0e91-e44d-4d5e-9df0-60b20dfe6090" providerId="ADAL" clId="{35511FFD-DD97-3848-80C1-32918EAC4232}" dt="2022-11-30T15:39:48.795" v="4932" actId="478"/>
          <ac:cxnSpMkLst>
            <pc:docMk/>
            <pc:sldMk cId="953872542" sldId="302"/>
            <ac:cxnSpMk id="10" creationId="{63030AA1-CACF-4E1B-FE3A-DEABA46ED72D}"/>
          </ac:cxnSpMkLst>
        </pc:cxnChg>
        <pc:cxnChg chg="del">
          <ac:chgData name="Janine De Vera" userId="4f0b0e91-e44d-4d5e-9df0-60b20dfe6090" providerId="ADAL" clId="{35511FFD-DD97-3848-80C1-32918EAC4232}" dt="2022-11-30T15:39:39.183" v="4925" actId="478"/>
          <ac:cxnSpMkLst>
            <pc:docMk/>
            <pc:sldMk cId="953872542" sldId="302"/>
            <ac:cxnSpMk id="22" creationId="{8A6E06F0-0D2F-FD60-F8D1-C8CE94BBB1B6}"/>
          </ac:cxnSpMkLst>
        </pc:cxnChg>
        <pc:cxnChg chg="del">
          <ac:chgData name="Janine De Vera" userId="4f0b0e91-e44d-4d5e-9df0-60b20dfe6090" providerId="ADAL" clId="{35511FFD-DD97-3848-80C1-32918EAC4232}" dt="2022-11-30T15:39:44.125" v="4928" actId="478"/>
          <ac:cxnSpMkLst>
            <pc:docMk/>
            <pc:sldMk cId="953872542" sldId="302"/>
            <ac:cxnSpMk id="25" creationId="{155A61DE-6362-E727-E86B-C027F232C167}"/>
          </ac:cxnSpMkLst>
        </pc:cxnChg>
      </pc:sldChg>
      <pc:sldChg chg="modSp mod">
        <pc:chgData name="Janine De Vera" userId="4f0b0e91-e44d-4d5e-9df0-60b20dfe6090" providerId="ADAL" clId="{35511FFD-DD97-3848-80C1-32918EAC4232}" dt="2022-12-01T08:01:38.958" v="5932"/>
        <pc:sldMkLst>
          <pc:docMk/>
          <pc:sldMk cId="3272554989" sldId="304"/>
        </pc:sldMkLst>
        <pc:spChg chg="mod">
          <ac:chgData name="Janine De Vera" userId="4f0b0e91-e44d-4d5e-9df0-60b20dfe6090" providerId="ADAL" clId="{35511FFD-DD97-3848-80C1-32918EAC4232}" dt="2022-12-01T08:01:38.958" v="5932"/>
          <ac:spMkLst>
            <pc:docMk/>
            <pc:sldMk cId="3272554989" sldId="304"/>
            <ac:spMk id="2" creationId="{91958196-E9F6-4665-B7A5-739B36D9A4F1}"/>
          </ac:spMkLst>
        </pc:spChg>
      </pc:sldChg>
      <pc:sldChg chg="modSp mod">
        <pc:chgData name="Janine De Vera" userId="4f0b0e91-e44d-4d5e-9df0-60b20dfe6090" providerId="ADAL" clId="{35511FFD-DD97-3848-80C1-32918EAC4232}" dt="2022-12-01T08:01:43.798" v="5933"/>
        <pc:sldMkLst>
          <pc:docMk/>
          <pc:sldMk cId="1980409040" sldId="305"/>
        </pc:sldMkLst>
        <pc:spChg chg="mod">
          <ac:chgData name="Janine De Vera" userId="4f0b0e91-e44d-4d5e-9df0-60b20dfe6090" providerId="ADAL" clId="{35511FFD-DD97-3848-80C1-32918EAC4232}" dt="2022-12-01T08:01:43.798" v="5933"/>
          <ac:spMkLst>
            <pc:docMk/>
            <pc:sldMk cId="1980409040" sldId="305"/>
            <ac:spMk id="2" creationId="{91958196-E9F6-4665-B7A5-739B36D9A4F1}"/>
          </ac:spMkLst>
        </pc:spChg>
      </pc:sldChg>
      <pc:sldChg chg="modSp mod">
        <pc:chgData name="Janine De Vera" userId="4f0b0e91-e44d-4d5e-9df0-60b20dfe6090" providerId="ADAL" clId="{35511FFD-DD97-3848-80C1-32918EAC4232}" dt="2022-12-01T08:01:48.252" v="5934"/>
        <pc:sldMkLst>
          <pc:docMk/>
          <pc:sldMk cId="1221985042" sldId="306"/>
        </pc:sldMkLst>
        <pc:spChg chg="mod">
          <ac:chgData name="Janine De Vera" userId="4f0b0e91-e44d-4d5e-9df0-60b20dfe6090" providerId="ADAL" clId="{35511FFD-DD97-3848-80C1-32918EAC4232}" dt="2022-12-01T08:01:48.252" v="5934"/>
          <ac:spMkLst>
            <pc:docMk/>
            <pc:sldMk cId="1221985042" sldId="306"/>
            <ac:spMk id="2" creationId="{91958196-E9F6-4665-B7A5-739B36D9A4F1}"/>
          </ac:spMkLst>
        </pc:spChg>
      </pc:sldChg>
      <pc:sldChg chg="addSp delSp modSp add mod">
        <pc:chgData name="Janine De Vera" userId="4f0b0e91-e44d-4d5e-9df0-60b20dfe6090" providerId="ADAL" clId="{35511FFD-DD97-3848-80C1-32918EAC4232}" dt="2022-11-30T16:04:08.250" v="5664" actId="1076"/>
        <pc:sldMkLst>
          <pc:docMk/>
          <pc:sldMk cId="1713150586" sldId="307"/>
        </pc:sldMkLst>
        <pc:spChg chg="del">
          <ac:chgData name="Janine De Vera" userId="4f0b0e91-e44d-4d5e-9df0-60b20dfe6090" providerId="ADAL" clId="{35511FFD-DD97-3848-80C1-32918EAC4232}" dt="2022-11-30T16:03:45.180" v="5656" actId="478"/>
          <ac:spMkLst>
            <pc:docMk/>
            <pc:sldMk cId="1713150586" sldId="307"/>
            <ac:spMk id="6" creationId="{D4A1BF13-A8F3-3255-BB19-BB5E9895376C}"/>
          </ac:spMkLst>
        </pc:spChg>
        <pc:spChg chg="del">
          <ac:chgData name="Janine De Vera" userId="4f0b0e91-e44d-4d5e-9df0-60b20dfe6090" providerId="ADAL" clId="{35511FFD-DD97-3848-80C1-32918EAC4232}" dt="2022-11-30T16:03:45.180" v="5656" actId="478"/>
          <ac:spMkLst>
            <pc:docMk/>
            <pc:sldMk cId="1713150586" sldId="307"/>
            <ac:spMk id="7" creationId="{B98F9D3B-D217-F455-9A92-4279BD889733}"/>
          </ac:spMkLst>
        </pc:spChg>
        <pc:spChg chg="del">
          <ac:chgData name="Janine De Vera" userId="4f0b0e91-e44d-4d5e-9df0-60b20dfe6090" providerId="ADAL" clId="{35511FFD-DD97-3848-80C1-32918EAC4232}" dt="2022-11-30T16:03:52.458" v="5658" actId="478"/>
          <ac:spMkLst>
            <pc:docMk/>
            <pc:sldMk cId="1713150586" sldId="307"/>
            <ac:spMk id="8" creationId="{FB423219-FA49-EED4-DC9A-8E6D0CC5A4A0}"/>
          </ac:spMkLst>
        </pc:spChg>
        <pc:spChg chg="del">
          <ac:chgData name="Janine De Vera" userId="4f0b0e91-e44d-4d5e-9df0-60b20dfe6090" providerId="ADAL" clId="{35511FFD-DD97-3848-80C1-32918EAC4232}" dt="2022-11-30T16:03:45.180" v="5656" actId="478"/>
          <ac:spMkLst>
            <pc:docMk/>
            <pc:sldMk cId="1713150586" sldId="307"/>
            <ac:spMk id="11" creationId="{7551ABB4-FC26-1C9D-BB3F-C470FE4E0367}"/>
          </ac:spMkLst>
        </pc:spChg>
        <pc:spChg chg="del">
          <ac:chgData name="Janine De Vera" userId="4f0b0e91-e44d-4d5e-9df0-60b20dfe6090" providerId="ADAL" clId="{35511FFD-DD97-3848-80C1-32918EAC4232}" dt="2022-11-30T16:03:45.180" v="5656" actId="478"/>
          <ac:spMkLst>
            <pc:docMk/>
            <pc:sldMk cId="1713150586" sldId="307"/>
            <ac:spMk id="12" creationId="{7D43DF53-9C43-6A27-B151-498804B66554}"/>
          </ac:spMkLst>
        </pc:spChg>
        <pc:spChg chg="del">
          <ac:chgData name="Janine De Vera" userId="4f0b0e91-e44d-4d5e-9df0-60b20dfe6090" providerId="ADAL" clId="{35511FFD-DD97-3848-80C1-32918EAC4232}" dt="2022-11-30T16:03:45.180" v="5656" actId="478"/>
          <ac:spMkLst>
            <pc:docMk/>
            <pc:sldMk cId="1713150586" sldId="307"/>
            <ac:spMk id="13" creationId="{BF334372-D340-4AFA-AF43-37E1833B2908}"/>
          </ac:spMkLst>
        </pc:spChg>
        <pc:spChg chg="del">
          <ac:chgData name="Janine De Vera" userId="4f0b0e91-e44d-4d5e-9df0-60b20dfe6090" providerId="ADAL" clId="{35511FFD-DD97-3848-80C1-32918EAC4232}" dt="2022-11-30T16:03:52.458" v="5658" actId="478"/>
          <ac:spMkLst>
            <pc:docMk/>
            <pc:sldMk cId="1713150586" sldId="307"/>
            <ac:spMk id="14" creationId="{B3CBF507-D32A-CCB6-82F8-6B85D252CCEB}"/>
          </ac:spMkLst>
        </pc:spChg>
        <pc:spChg chg="del">
          <ac:chgData name="Janine De Vera" userId="4f0b0e91-e44d-4d5e-9df0-60b20dfe6090" providerId="ADAL" clId="{35511FFD-DD97-3848-80C1-32918EAC4232}" dt="2022-11-30T16:03:52.458" v="5658" actId="478"/>
          <ac:spMkLst>
            <pc:docMk/>
            <pc:sldMk cId="1713150586" sldId="307"/>
            <ac:spMk id="16" creationId="{A6383C72-CE1D-22AE-5743-6D72C007E399}"/>
          </ac:spMkLst>
        </pc:spChg>
        <pc:spChg chg="del">
          <ac:chgData name="Janine De Vera" userId="4f0b0e91-e44d-4d5e-9df0-60b20dfe6090" providerId="ADAL" clId="{35511FFD-DD97-3848-80C1-32918EAC4232}" dt="2022-11-30T16:03:48.690" v="5657" actId="478"/>
          <ac:spMkLst>
            <pc:docMk/>
            <pc:sldMk cId="1713150586" sldId="307"/>
            <ac:spMk id="18" creationId="{91E305C5-08B7-677A-854C-EB3C3FAA01F3}"/>
          </ac:spMkLst>
        </pc:spChg>
        <pc:spChg chg="del">
          <ac:chgData name="Janine De Vera" userId="4f0b0e91-e44d-4d5e-9df0-60b20dfe6090" providerId="ADAL" clId="{35511FFD-DD97-3848-80C1-32918EAC4232}" dt="2022-11-30T16:03:52.458" v="5658" actId="478"/>
          <ac:spMkLst>
            <pc:docMk/>
            <pc:sldMk cId="1713150586" sldId="307"/>
            <ac:spMk id="19" creationId="{2512969D-DCFE-E655-116C-3D3E62A29FD0}"/>
          </ac:spMkLst>
        </pc:spChg>
        <pc:picChg chg="del">
          <ac:chgData name="Janine De Vera" userId="4f0b0e91-e44d-4d5e-9df0-60b20dfe6090" providerId="ADAL" clId="{35511FFD-DD97-3848-80C1-32918EAC4232}" dt="2022-11-30T16:03:48.690" v="5657" actId="478"/>
          <ac:picMkLst>
            <pc:docMk/>
            <pc:sldMk cId="1713150586" sldId="307"/>
            <ac:picMk id="5" creationId="{52AABFD0-50B8-0B65-447E-720971468151}"/>
          </ac:picMkLst>
        </pc:picChg>
        <pc:picChg chg="add mod">
          <ac:chgData name="Janine De Vera" userId="4f0b0e91-e44d-4d5e-9df0-60b20dfe6090" providerId="ADAL" clId="{35511FFD-DD97-3848-80C1-32918EAC4232}" dt="2022-11-30T16:04:08.250" v="5664" actId="1076"/>
          <ac:picMkLst>
            <pc:docMk/>
            <pc:sldMk cId="1713150586" sldId="307"/>
            <ac:picMk id="10" creationId="{685747C4-5D89-A931-A122-4D4ACB0546ED}"/>
          </ac:picMkLst>
        </pc:picChg>
        <pc:cxnChg chg="del">
          <ac:chgData name="Janine De Vera" userId="4f0b0e91-e44d-4d5e-9df0-60b20dfe6090" providerId="ADAL" clId="{35511FFD-DD97-3848-80C1-32918EAC4232}" dt="2022-11-30T16:03:45.180" v="5656" actId="478"/>
          <ac:cxnSpMkLst>
            <pc:docMk/>
            <pc:sldMk cId="1713150586" sldId="307"/>
            <ac:cxnSpMk id="9" creationId="{AD4C2572-E21F-3F08-B2F3-0303E23268F6}"/>
          </ac:cxnSpMkLst>
        </pc:cxnChg>
        <pc:cxnChg chg="del">
          <ac:chgData name="Janine De Vera" userId="4f0b0e91-e44d-4d5e-9df0-60b20dfe6090" providerId="ADAL" clId="{35511FFD-DD97-3848-80C1-32918EAC4232}" dt="2022-11-30T16:03:45.180" v="5656" actId="478"/>
          <ac:cxnSpMkLst>
            <pc:docMk/>
            <pc:sldMk cId="1713150586" sldId="307"/>
            <ac:cxnSpMk id="15" creationId="{E55B1C27-E4D8-AB6B-64DD-FF26613B87E2}"/>
          </ac:cxnSpMkLst>
        </pc:cxnChg>
        <pc:cxnChg chg="del">
          <ac:chgData name="Janine De Vera" userId="4f0b0e91-e44d-4d5e-9df0-60b20dfe6090" providerId="ADAL" clId="{35511FFD-DD97-3848-80C1-32918EAC4232}" dt="2022-11-30T16:03:45.180" v="5656" actId="478"/>
          <ac:cxnSpMkLst>
            <pc:docMk/>
            <pc:sldMk cId="1713150586" sldId="307"/>
            <ac:cxnSpMk id="17" creationId="{A0F4EDB6-362C-7CC0-8221-7C12D24BC7D4}"/>
          </ac:cxnSpMkLst>
        </pc:cxnChg>
        <pc:cxnChg chg="del">
          <ac:chgData name="Janine De Vera" userId="4f0b0e91-e44d-4d5e-9df0-60b20dfe6090" providerId="ADAL" clId="{35511FFD-DD97-3848-80C1-32918EAC4232}" dt="2022-11-30T16:03:45.180" v="5656" actId="478"/>
          <ac:cxnSpMkLst>
            <pc:docMk/>
            <pc:sldMk cId="1713150586" sldId="307"/>
            <ac:cxnSpMk id="20" creationId="{BFE03F37-D376-0F43-7F8E-BE59D7AD7EB7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B245E4-2F67-49C8-BC6F-44D9FD4CF368}" type="datetimeFigureOut">
              <a:rPr lang="en-US" smtClean="0"/>
              <a:t>12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BCDA2F-65A4-4F96-91EA-EFE946326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317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AF38A8-F486-42FF-AF65-53D22D1406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28F54-D3DD-4883-9833-426170C3D9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8947D4-9EDF-4DF2-ADD2-2136F41F6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E6900-6D2E-40F9-B185-F3F8219185D3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0DC9FF-0459-487D-887D-8E61D3B69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816F46-06D5-4AF5-81BE-F7F7CC028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642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B17D0-F163-4B23-BDB9-8382FB477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DF9C0E-DCEF-4925-AFFB-DF22F1B8D4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C5DDD8-8288-49A1-A794-DBCF30919C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0FE2C-DE82-43F7-A4C2-BB7E8F29F4D8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562E6F-B408-44C8-968A-FE4B5C266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FD7E7-7351-4C02-A9A8-B4EAA9677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082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457310-CC7F-4FCC-BF3A-A0FDCFCD25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989AAA-8981-4274-B531-601923C145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F79AAE-6A92-472A-87C5-ACC2B133D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5AF158-C73D-4FDE-9B15-DC8AEA77D230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4536F-B27D-46C8-8770-0406A20C9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0101F4-0CD2-4C11-9E59-3EF60DA7E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347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AF38A8-F486-42FF-AF65-53D22D1406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28F54-D3DD-4883-9833-426170C3D9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8947D4-9EDF-4DF2-ADD2-2136F41F6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A92F74-817C-4AEE-B698-A66DB34EA3BA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0DC9FF-0459-487D-887D-8E61D3B69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816F46-06D5-4AF5-81BE-F7F7CC028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6225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1C508-D894-4629-A097-BC1FED24C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6D3E4F-7BA8-4896-B06C-F734794796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6BA8C1-2270-4875-8B41-7ADD8F4D0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E97E8-3712-4AA4-964F-FDD385A96DC1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FB6B6B-8513-43AF-863D-9493AF6998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BE70D2-DB21-4665-921E-683EE3CE1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4962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1A1A1-9075-4D3E-B5B7-6DE1032B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776001-292C-47D6-B166-008B5EDDEE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DF8234-8EB7-464D-A2AB-96CB04B2DF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F0E06-0ED6-4965-976A-B043631F1C53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9DD98C-3705-41F9-A789-25A6C6066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A0E279-A69C-4F45-8C53-75542A5B6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7063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D200C-CCB4-49B2-9D46-486A7C87D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D1CAA8-B392-46B9-AC2E-F9D93B461E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9D2DC3-25ED-4544-80B5-8A68ABF141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CBEAD3-CED2-4A74-B9D2-35187F2FCA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89542-AED2-4366-8CDC-D5D54A25C574}" type="datetime1">
              <a:rPr lang="en-US" smtClean="0"/>
              <a:t>12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8AF694-50D4-435D-8B7E-4F801573E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E0AC31-F4A5-4253-BAE8-8037CCB9B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770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730A7-2DD4-47E1-BB68-65A621808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762E55-98FE-4188-9531-FA89AB4E6D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4553D6-340A-449D-AF66-8E5DC63168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1C05B6-0868-427E-A42F-8B2D59E857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ED6DFA6-0704-4DB5-9241-896506912A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0E20CC1-E1FE-4B64-BD77-FFDF7D54F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5E675-FB22-494E-9BDA-E1525CC47C1E}" type="datetime1">
              <a:rPr lang="en-US" smtClean="0"/>
              <a:t>12/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80BDA5-7965-4122-81A6-D767953C4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6EFDBB9-732E-4C8C-8E8E-0758C7ED9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958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0639F-D6BE-4367-AF30-C0353FB01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8D09C4-EEF8-4A69-8552-8AF40D5E17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31EC4-BEEA-4A53-93F6-5403C8717710}" type="datetime1">
              <a:rPr lang="en-US" smtClean="0"/>
              <a:t>12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2E7029-311C-427D-822D-83D40BC14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986D0A-1D25-4DFC-9A11-344ED6356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7618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2FD2DE-BC33-48AD-BF0F-76D7ECD46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AC08A9-2B9D-413B-A8CF-DDEB186E33A3}" type="datetime1">
              <a:rPr lang="en-US" smtClean="0"/>
              <a:t>12/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8ED27B-F39B-4CA4-9B87-C2D13A236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585A2A-63D7-42B2-916E-70C6C0F64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4927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3B470-784C-472D-A3D0-4156DF6E9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1E6D2B-BE62-441C-A443-3EB4D0B14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B615AF-2225-491D-9566-924C8FDE49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F13456-F9E1-484F-A233-A7D006C72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C6376F-CAA1-4919-97FF-92F1EF906793}" type="datetime1">
              <a:rPr lang="en-US" smtClean="0"/>
              <a:t>12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4378A5-EB80-4C91-8510-127269A74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0124F5-1319-4B93-BFD6-3998E9C84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226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1C508-D894-4629-A097-BC1FED24C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6D3E4F-7BA8-4896-B06C-F734794796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6BA8C1-2270-4875-8B41-7ADD8F4D0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B7A072-BDED-4B82-9848-93EDAFE2FED8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FB6B6B-8513-43AF-863D-9493AF6998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BE70D2-DB21-4665-921E-683EE3CE1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1600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97D6B-0A86-4168-B42E-0DA635099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8D33CE-E091-4E08-BCEA-FD8604E021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F57C1C-EC8C-4CCC-9416-3D3B249D05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925E1F-F4EC-4F43-BF12-A482A6DF0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1009E-9AF8-4934-AB7E-061890DC2896}" type="datetime1">
              <a:rPr lang="en-US" smtClean="0"/>
              <a:t>12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F38EDA-F35C-4E63-A279-184955C74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CE557B-E4F7-4575-87F4-93672AB72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434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B17D0-F163-4B23-BDB9-8382FB477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DF9C0E-DCEF-4925-AFFB-DF22F1B8D4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C5DDD8-8288-49A1-A794-DBCF30919C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983F9F-538E-4414-A768-D3448994B254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562E6F-B408-44C8-968A-FE4B5C266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FD7E7-7351-4C02-A9A8-B4EAA9677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181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457310-CC7F-4FCC-BF3A-A0FDCFCD25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989AAA-8981-4274-B531-601923C145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F79AAE-6A92-472A-87C5-ACC2B133D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7B1D6-368D-475A-9367-678C6A5D8C1C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4536F-B27D-46C8-8770-0406A20C9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0101F4-0CD2-4C11-9E59-3EF60DA7E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8394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1A1A1-9075-4D3E-B5B7-6DE1032B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776001-292C-47D6-B166-008B5EDDEE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DF8234-8EB7-464D-A2AB-96CB04B2DF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1D05-7260-4B26-9662-D89DCDE92845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9DD98C-3705-41F9-A789-25A6C6066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A0E279-A69C-4F45-8C53-75542A5B6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9070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D200C-CCB4-49B2-9D46-486A7C87D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D1CAA8-B392-46B9-AC2E-F9D93B461E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9D2DC3-25ED-4544-80B5-8A68ABF141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CBEAD3-CED2-4A74-B9D2-35187F2FCA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193C6-5BB3-4448-9894-FD4AC3334F0D}" type="datetime1">
              <a:rPr lang="en-US" smtClean="0"/>
              <a:t>12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8AF694-50D4-435D-8B7E-4F801573E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E0AC31-F4A5-4253-BAE8-8037CCB9B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942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730A7-2DD4-47E1-BB68-65A621808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762E55-98FE-4188-9531-FA89AB4E6D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4553D6-340A-449D-AF66-8E5DC63168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1C05B6-0868-427E-A42F-8B2D59E857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ED6DFA6-0704-4DB5-9241-896506912A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0E20CC1-E1FE-4B64-BD77-FFDF7D54F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74E3-058E-4096-A6DC-6DFB79F43D0B}" type="datetime1">
              <a:rPr lang="en-US" smtClean="0"/>
              <a:t>12/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80BDA5-7965-4122-81A6-D767953C4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6EFDBB9-732E-4C8C-8E8E-0758C7ED9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310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0639F-D6BE-4367-AF30-C0353FB01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8D09C4-EEF8-4A69-8552-8AF40D5E17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56157-8A38-479D-A661-33456C29F2B3}" type="datetime1">
              <a:rPr lang="en-US" smtClean="0"/>
              <a:t>12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2E7029-311C-427D-822D-83D40BC14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986D0A-1D25-4DFC-9A11-344ED6356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369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2FD2DE-BC33-48AD-BF0F-76D7ECD46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31FAE1-60B3-462E-9B44-214252C8DD2C}" type="datetime1">
              <a:rPr lang="en-US" smtClean="0"/>
              <a:t>12/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8ED27B-F39B-4CA4-9B87-C2D13A236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585A2A-63D7-42B2-916E-70C6C0F64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296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3B470-784C-472D-A3D0-4156DF6E9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1E6D2B-BE62-441C-A443-3EB4D0B14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B615AF-2225-491D-9566-924C8FDE49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F13456-F9E1-484F-A233-A7D006C72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FD099C-F874-413C-86E6-E563B9A37CED}" type="datetime1">
              <a:rPr lang="en-US" smtClean="0"/>
              <a:t>12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4378A5-EB80-4C91-8510-127269A74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0124F5-1319-4B93-BFD6-3998E9C84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0792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97D6B-0A86-4168-B42E-0DA635099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8D33CE-E091-4E08-BCEA-FD8604E021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F57C1C-EC8C-4CCC-9416-3D3B249D05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925E1F-F4EC-4F43-BF12-A482A6DF0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58DA6-8823-4361-A6F8-137809F23A04}" type="datetime1">
              <a:rPr lang="en-US" smtClean="0"/>
              <a:t>12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F38EDA-F35C-4E63-A279-184955C74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CE557B-E4F7-4575-87F4-93672AB72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19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EA37D2-5D7E-4837-BAE1-2EC990111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459306-AE69-4DEA-A146-CD1CAAC522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7BF57E-C54B-4141-B3CA-2097E56F4F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fld id="{DF3CD99B-BBE5-4755-92BE-A3E477D52C90}" type="datetime1">
              <a:rPr lang="en-US" smtClean="0"/>
              <a:pPr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E88EC4-E289-4EA0-960E-818EDA1959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2868D7-E0F9-463C-A016-75E75FF5A3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fld id="{7C02D9DD-37FA-4F46-8414-D2C6C6B955F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6E0F21C-69D1-40AB-BDD0-876FB19AED7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0521" y="6376736"/>
            <a:ext cx="2083279" cy="249196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B465A9A-ABF0-7572-4C17-23B09A27993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4484" y="365125"/>
            <a:ext cx="1225690" cy="848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694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Helvetica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EA37D2-5D7E-4837-BAE1-2EC990111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459306-AE69-4DEA-A146-CD1CAAC522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7BF57E-C54B-4141-B3CA-2097E56F4F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748545-0D17-4951-9D00-6807B02E2737}" type="datetime1">
              <a:rPr lang="en-US" smtClean="0"/>
              <a:t>1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E88EC4-E289-4EA0-960E-818EDA1959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2868D7-E0F9-463C-A016-75E75FF5A3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02D9DD-37FA-4F46-8414-D2C6C6B955F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6E0F21C-69D1-40AB-BDD0-876FB19AED7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0521" y="6376736"/>
            <a:ext cx="2083279" cy="249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6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Helvetica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8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0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1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2.png"/><Relationship Id="rId7" Type="http://schemas.openxmlformats.org/officeDocument/2006/relationships/image" Target="../media/image25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image" Target="../media/image23.sv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969EA-368B-4972-AA69-C96B68FE06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6599" y="1827213"/>
            <a:ext cx="10376877" cy="2387600"/>
          </a:xfrm>
        </p:spPr>
        <p:txBody>
          <a:bodyPr>
            <a:normAutofit/>
          </a:bodyPr>
          <a:lstStyle/>
          <a:p>
            <a:pPr algn="l"/>
            <a:r>
              <a:rPr lang="en-US" sz="4000">
                <a:latin typeface="Cambria" panose="02040503050406030204" pitchFamily="18" charset="0"/>
                <a:ea typeface="Cambria" panose="02040503050406030204" pitchFamily="18" charset="0"/>
              </a:rPr>
              <a:t>Emotion and Rationality in EU Communic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8FE892-FBEB-4B98-8790-A0AF0FF992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6600" y="4324472"/>
            <a:ext cx="11027508" cy="461962"/>
          </a:xfrm>
        </p:spPr>
        <p:txBody>
          <a:bodyPr>
            <a:normAutofit/>
          </a:bodyPr>
          <a:lstStyle/>
          <a:p>
            <a:pPr algn="l"/>
            <a:r>
              <a:rPr lang="en-US" i="1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“They may forget what you said, but they will remember how you made them feel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593DFF-E113-4ED0-B98D-D51AB5D36A05}"/>
              </a:ext>
            </a:extLst>
          </p:cNvPr>
          <p:cNvSpPr txBox="1"/>
          <p:nvPr/>
        </p:nvSpPr>
        <p:spPr>
          <a:xfrm>
            <a:off x="753393" y="5491152"/>
            <a:ext cx="31152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>
                <a:latin typeface="Cambria" panose="02040503050406030204" pitchFamily="18" charset="0"/>
                <a:ea typeface="Cambria" panose="02040503050406030204" pitchFamily="18" charset="0"/>
              </a:rPr>
              <a:t>Ma. </a:t>
            </a:r>
            <a:r>
              <a:rPr lang="de-DE" sz="1200" err="1">
                <a:latin typeface="Cambria" panose="02040503050406030204" pitchFamily="18" charset="0"/>
                <a:ea typeface="Cambria" panose="02040503050406030204" pitchFamily="18" charset="0"/>
              </a:rPr>
              <a:t>Adelle</a:t>
            </a:r>
            <a:r>
              <a:rPr lang="de-DE" sz="1200">
                <a:latin typeface="Cambria" panose="02040503050406030204" pitchFamily="18" charset="0"/>
                <a:ea typeface="Cambria" panose="02040503050406030204" pitchFamily="18" charset="0"/>
              </a:rPr>
              <a:t> Gia </a:t>
            </a:r>
            <a:r>
              <a:rPr lang="de-DE" sz="1200" err="1">
                <a:latin typeface="Cambria" panose="02040503050406030204" pitchFamily="18" charset="0"/>
                <a:ea typeface="Cambria" panose="02040503050406030204" pitchFamily="18" charset="0"/>
              </a:rPr>
              <a:t>Arbo</a:t>
            </a:r>
            <a:r>
              <a:rPr lang="de-DE" sz="1200">
                <a:latin typeface="Cambria" panose="02040503050406030204" pitchFamily="18" charset="0"/>
                <a:ea typeface="Cambria" panose="02040503050406030204" pitchFamily="18" charset="0"/>
              </a:rPr>
              <a:t>, MDS 2023</a:t>
            </a:r>
            <a:endParaRPr lang="en-US" sz="12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56D786-B57E-4361-84FF-5C5731201256}"/>
              </a:ext>
            </a:extLst>
          </p:cNvPr>
          <p:cNvSpPr txBox="1"/>
          <p:nvPr/>
        </p:nvSpPr>
        <p:spPr>
          <a:xfrm>
            <a:off x="753393" y="5759816"/>
            <a:ext cx="2245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>
                <a:latin typeface="Cambria" panose="02040503050406030204" pitchFamily="18" charset="0"/>
                <a:ea typeface="Cambria" panose="02040503050406030204" pitchFamily="18" charset="0"/>
              </a:rPr>
              <a:t>Janine De Vera, MDS 2023</a:t>
            </a:r>
            <a:endParaRPr lang="en-US" sz="12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D1CC17-1A9E-44D9-8502-65604240A4C6}"/>
              </a:ext>
            </a:extLst>
          </p:cNvPr>
          <p:cNvSpPr txBox="1"/>
          <p:nvPr/>
        </p:nvSpPr>
        <p:spPr>
          <a:xfrm>
            <a:off x="753393" y="5238511"/>
            <a:ext cx="7285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ctr"/>
            <a:r>
              <a:rPr lang="en-GB" sz="1200" b="1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Text as Data – Research Presentation – December </a:t>
            </a:r>
            <a:r>
              <a:rPr lang="en-GB" sz="1200" b="1">
                <a:solidFill>
                  <a:srgbClr val="22222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</a:t>
            </a:r>
            <a:r>
              <a:rPr lang="en-GB" sz="1200" b="1" baseline="30000">
                <a:solidFill>
                  <a:srgbClr val="22222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</a:t>
            </a:r>
            <a:r>
              <a:rPr lang="en-GB" sz="1200" b="1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, 2022</a:t>
            </a:r>
            <a:endParaRPr lang="en-US" sz="1200" b="1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EF55EE-6783-FBC8-93A0-7653943AA66E}"/>
              </a:ext>
            </a:extLst>
          </p:cNvPr>
          <p:cNvSpPr txBox="1"/>
          <p:nvPr/>
        </p:nvSpPr>
        <p:spPr>
          <a:xfrm>
            <a:off x="9768254" y="4789171"/>
            <a:ext cx="15650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latin typeface="Cambria" panose="02040503050406030204" pitchFamily="18" charset="0"/>
                <a:ea typeface="Cambria" panose="02040503050406030204" pitchFamily="18" charset="0"/>
              </a:rPr>
              <a:t>(Carl W. Buechner)</a:t>
            </a:r>
            <a:endParaRPr lang="en-DE" sz="12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066B4A-C0F9-115E-BA18-1B7FEB819D83}"/>
              </a:ext>
            </a:extLst>
          </p:cNvPr>
          <p:cNvSpPr txBox="1"/>
          <p:nvPr/>
        </p:nvSpPr>
        <p:spPr>
          <a:xfrm>
            <a:off x="753393" y="6020792"/>
            <a:ext cx="2245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>
                <a:latin typeface="Cambria" panose="02040503050406030204" pitchFamily="18" charset="0"/>
                <a:ea typeface="Cambria" panose="02040503050406030204" pitchFamily="18" charset="0"/>
              </a:rPr>
              <a:t>Benedikt Ströbl, MDS 2023</a:t>
            </a:r>
            <a:endParaRPr lang="en-US" sz="12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006F22-AD73-51CB-14C4-DD2F2C38B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5061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15CE5AA-E5A9-41F8-9E45-BBB4AC538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300" y="1709738"/>
            <a:ext cx="10515600" cy="2852737"/>
          </a:xfrm>
        </p:spPr>
        <p:txBody>
          <a:bodyPr/>
          <a:lstStyle/>
          <a:p>
            <a:r>
              <a:rPr lang="en-US"/>
              <a:t>Appendix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78FA759-CDEC-4C9C-A1D7-4FC3306CBD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9300" y="4589463"/>
            <a:ext cx="10515600" cy="1500187"/>
          </a:xfrm>
        </p:spPr>
        <p:txBody>
          <a:bodyPr/>
          <a:lstStyle/>
          <a:p>
            <a:r>
              <a:rPr lang="en-US">
                <a:solidFill>
                  <a:schemeClr val="bg1">
                    <a:lumMod val="50000"/>
                  </a:schemeClr>
                </a:solidFill>
              </a:rPr>
              <a:t>Some less pretty but still informative insights to better understand our research design and resul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2ACBDA-EDC5-0BDD-1A49-5E58F4971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7473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E81F6-DF96-4693-A4E8-E70870B864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1797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/>
              <a:t>Linguistic Inquiry and Word Count Word Lists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A092B2-D710-E1C7-353E-A0D12D62D8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729" y="1657675"/>
            <a:ext cx="8954499" cy="450687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D2B229C-F10F-DD76-E812-F0AF944F6BC2}"/>
              </a:ext>
            </a:extLst>
          </p:cNvPr>
          <p:cNvSpPr txBox="1"/>
          <p:nvPr/>
        </p:nvSpPr>
        <p:spPr>
          <a:xfrm>
            <a:off x="741874" y="1241634"/>
            <a:ext cx="42838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mbria Math" panose="02040503050406030204" pitchFamily="18" charset="0"/>
                <a:ea typeface="Cambria Math" panose="02040503050406030204" pitchFamily="18" charset="0"/>
              </a:rPr>
              <a:t>LIWC Dictionary Word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3E5B85-0FFA-9752-0499-C3EDB5B30541}"/>
              </a:ext>
            </a:extLst>
          </p:cNvPr>
          <p:cNvSpPr txBox="1"/>
          <p:nvPr/>
        </p:nvSpPr>
        <p:spPr>
          <a:xfrm>
            <a:off x="741873" y="1560223"/>
            <a:ext cx="77504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The word clouds show the most frequent words in both word lists we used for our research </a:t>
            </a:r>
          </a:p>
        </p:txBody>
      </p:sp>
    </p:spTree>
    <p:extLst>
      <p:ext uri="{BB962C8B-B14F-4D97-AF65-F5344CB8AC3E}">
        <p14:creationId xmlns:p14="http://schemas.microsoft.com/office/powerpoint/2010/main" val="4127775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E81F6-DF96-4693-A4E8-E70870B864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1797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/>
              <a:t>Affect and Cognition Over Time</a:t>
            </a:r>
          </a:p>
        </p:txBody>
      </p: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FF27B324-BB12-DEDE-DB4C-9395ABCC2B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29" y="1110763"/>
            <a:ext cx="8512284" cy="5256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6419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E81F6-DF96-4693-A4E8-E70870B864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1797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/>
              <a:t>Affect and Cognition in 2021</a:t>
            </a:r>
          </a:p>
        </p:txBody>
      </p: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FF27B324-BB12-DEDE-DB4C-9395ABCC2B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29" y="1110763"/>
            <a:ext cx="8512284" cy="5256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96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E81F6-DF96-4693-A4E8-E70870B864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1797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/>
              <a:t>Cognition across gender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CD06644B-DB40-83D6-A409-B89D22F595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23" y="1163055"/>
            <a:ext cx="8703601" cy="5374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4068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72CDCE8-390D-2E99-890F-656DE0EAEA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4149" y="1638470"/>
            <a:ext cx="8161514" cy="476088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15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50CA48D-E99E-5B5D-9BE4-EDB3633E02D7}"/>
              </a:ext>
            </a:extLst>
          </p:cNvPr>
          <p:cNvCxnSpPr>
            <a:cxnSpLocks/>
          </p:cNvCxnSpPr>
          <p:nvPr/>
        </p:nvCxnSpPr>
        <p:spPr>
          <a:xfrm>
            <a:off x="7499072" y="2628465"/>
            <a:ext cx="24334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74">
            <a:extLst>
              <a:ext uri="{FF2B5EF4-FFF2-40B4-BE49-F238E27FC236}">
                <a16:creationId xmlns:a16="http://schemas.microsoft.com/office/drawing/2014/main" id="{3EF61BE5-621A-F628-18DB-2EF35239E740}"/>
              </a:ext>
            </a:extLst>
          </p:cNvPr>
          <p:cNvSpPr txBox="1"/>
          <p:nvPr/>
        </p:nvSpPr>
        <p:spPr>
          <a:xfrm>
            <a:off x="7728607" y="2397632"/>
            <a:ext cx="39786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Highly emotive speeches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are associated to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major crisis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events like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 COVID-19 outbreak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and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 Ukraine war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591523-DCEF-DAB6-3058-6D25310F47FE}"/>
              </a:ext>
            </a:extLst>
          </p:cNvPr>
          <p:cNvSpPr txBox="1">
            <a:spLocks/>
          </p:cNvSpPr>
          <p:nvPr/>
        </p:nvSpPr>
        <p:spPr>
          <a:xfrm>
            <a:off x="731729" y="58195"/>
            <a:ext cx="1062108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  <a:cs typeface="Helvetica" panose="020B0604020202020204" pitchFamily="34" charset="0"/>
              </a:defRPr>
            </a:lvl1pPr>
          </a:lstStyle>
          <a:p>
            <a:r>
              <a:rPr lang="en-US" sz="3600"/>
              <a:t>RQ1</a:t>
            </a:r>
            <a:r>
              <a:rPr lang="en-GB" sz="3600"/>
              <a:t> – </a:t>
            </a:r>
            <a:r>
              <a:rPr lang="en-US" sz="3600"/>
              <a:t>How does emotion in language vary across time and events?</a:t>
            </a:r>
          </a:p>
        </p:txBody>
      </p:sp>
    </p:spTree>
    <p:extLst>
      <p:ext uri="{BB962C8B-B14F-4D97-AF65-F5344CB8AC3E}">
        <p14:creationId xmlns:p14="http://schemas.microsoft.com/office/powerpoint/2010/main" val="30456156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72CDCE8-390D-2E99-890F-656DE0EAEA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4149" y="1638470"/>
            <a:ext cx="8161513" cy="47608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10153389" cy="1325563"/>
          </a:xfrm>
        </p:spPr>
        <p:txBody>
          <a:bodyPr>
            <a:normAutofit/>
          </a:bodyPr>
          <a:lstStyle/>
          <a:p>
            <a:r>
              <a:rPr lang="en-US" sz="3600"/>
              <a:t>RQ1</a:t>
            </a:r>
            <a:r>
              <a:rPr lang="en-GB" sz="3600"/>
              <a:t> – </a:t>
            </a:r>
            <a:r>
              <a:rPr lang="en-US" sz="3600"/>
              <a:t>How does emotion in language vary across time and event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16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50CA48D-E99E-5B5D-9BE4-EDB3633E02D7}"/>
              </a:ext>
            </a:extLst>
          </p:cNvPr>
          <p:cNvCxnSpPr>
            <a:cxnSpLocks/>
          </p:cNvCxnSpPr>
          <p:nvPr/>
        </p:nvCxnSpPr>
        <p:spPr>
          <a:xfrm>
            <a:off x="7499072" y="2628465"/>
            <a:ext cx="24334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74">
            <a:extLst>
              <a:ext uri="{FF2B5EF4-FFF2-40B4-BE49-F238E27FC236}">
                <a16:creationId xmlns:a16="http://schemas.microsoft.com/office/drawing/2014/main" id="{3EF61BE5-621A-F628-18DB-2EF35239E740}"/>
              </a:ext>
            </a:extLst>
          </p:cNvPr>
          <p:cNvSpPr txBox="1"/>
          <p:nvPr/>
        </p:nvSpPr>
        <p:spPr>
          <a:xfrm>
            <a:off x="7742414" y="2397632"/>
            <a:ext cx="39786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Commissioner speeches use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more cognitive than affective language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during major crisis events</a:t>
            </a:r>
          </a:p>
        </p:txBody>
      </p:sp>
    </p:spTree>
    <p:extLst>
      <p:ext uri="{BB962C8B-B14F-4D97-AF65-F5344CB8AC3E}">
        <p14:creationId xmlns:p14="http://schemas.microsoft.com/office/powerpoint/2010/main" val="8098749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72CDCE8-390D-2E99-890F-656DE0EAEA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4149" y="1638470"/>
            <a:ext cx="8161513" cy="47608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10153389" cy="1325563"/>
          </a:xfrm>
        </p:spPr>
        <p:txBody>
          <a:bodyPr>
            <a:normAutofit/>
          </a:bodyPr>
          <a:lstStyle/>
          <a:p>
            <a:r>
              <a:rPr lang="en-US" sz="3600"/>
              <a:t>RQ1</a:t>
            </a:r>
            <a:r>
              <a:rPr lang="en-GB" sz="3600"/>
              <a:t> – </a:t>
            </a:r>
            <a:r>
              <a:rPr lang="en-US" sz="3600"/>
              <a:t>How does emotion in language vary across time and event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17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50CA48D-E99E-5B5D-9BE4-EDB3633E02D7}"/>
              </a:ext>
            </a:extLst>
          </p:cNvPr>
          <p:cNvCxnSpPr>
            <a:cxnSpLocks/>
          </p:cNvCxnSpPr>
          <p:nvPr/>
        </p:nvCxnSpPr>
        <p:spPr>
          <a:xfrm>
            <a:off x="7499072" y="2628465"/>
            <a:ext cx="24334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74">
            <a:extLst>
              <a:ext uri="{FF2B5EF4-FFF2-40B4-BE49-F238E27FC236}">
                <a16:creationId xmlns:a16="http://schemas.microsoft.com/office/drawing/2014/main" id="{3EF61BE5-621A-F628-18DB-2EF35239E740}"/>
              </a:ext>
            </a:extLst>
          </p:cNvPr>
          <p:cNvSpPr txBox="1"/>
          <p:nvPr/>
        </p:nvSpPr>
        <p:spPr>
          <a:xfrm>
            <a:off x="7742414" y="2397632"/>
            <a:ext cx="39786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Commissioner speeches use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more cognitive than affective language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during major crisis events</a:t>
            </a:r>
          </a:p>
        </p:txBody>
      </p:sp>
    </p:spTree>
    <p:extLst>
      <p:ext uri="{BB962C8B-B14F-4D97-AF65-F5344CB8AC3E}">
        <p14:creationId xmlns:p14="http://schemas.microsoft.com/office/powerpoint/2010/main" val="22269234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72CDCE8-390D-2E99-890F-656DE0EAEA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4150" y="1638470"/>
            <a:ext cx="8161511" cy="47608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10153389" cy="1325563"/>
          </a:xfrm>
        </p:spPr>
        <p:txBody>
          <a:bodyPr>
            <a:normAutofit/>
          </a:bodyPr>
          <a:lstStyle/>
          <a:p>
            <a:r>
              <a:rPr lang="en-US" sz="3600"/>
              <a:t>RQ1</a:t>
            </a:r>
            <a:r>
              <a:rPr lang="en-GB" sz="3600"/>
              <a:t> – </a:t>
            </a:r>
            <a:r>
              <a:rPr lang="en-US" sz="3600"/>
              <a:t>How does emotion in language vary across time and event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18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cxnSp>
        <p:nvCxnSpPr>
          <p:cNvPr id="6" name="Gerade Verbindung mit Pfeil 10">
            <a:extLst>
              <a:ext uri="{FF2B5EF4-FFF2-40B4-BE49-F238E27FC236}">
                <a16:creationId xmlns:a16="http://schemas.microsoft.com/office/drawing/2014/main" id="{9DBF80F2-7DAE-2EF5-677C-E736F233BF5D}"/>
              </a:ext>
            </a:extLst>
          </p:cNvPr>
          <p:cNvCxnSpPr>
            <a:cxnSpLocks/>
          </p:cNvCxnSpPr>
          <p:nvPr/>
        </p:nvCxnSpPr>
        <p:spPr>
          <a:xfrm>
            <a:off x="7840594" y="2628465"/>
            <a:ext cx="24334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4">
            <a:extLst>
              <a:ext uri="{FF2B5EF4-FFF2-40B4-BE49-F238E27FC236}">
                <a16:creationId xmlns:a16="http://schemas.microsoft.com/office/drawing/2014/main" id="{1813FE75-C183-F2B7-6E40-8BD473954715}"/>
              </a:ext>
            </a:extLst>
          </p:cNvPr>
          <p:cNvSpPr txBox="1"/>
          <p:nvPr/>
        </p:nvSpPr>
        <p:spPr>
          <a:xfrm>
            <a:off x="8070129" y="2397632"/>
            <a:ext cx="39786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Highly emotive speeches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are associated to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major crisis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events like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 COVID-19 outbreak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and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 Ukraine war</a:t>
            </a:r>
          </a:p>
        </p:txBody>
      </p:sp>
    </p:spTree>
    <p:extLst>
      <p:ext uri="{BB962C8B-B14F-4D97-AF65-F5344CB8AC3E}">
        <p14:creationId xmlns:p14="http://schemas.microsoft.com/office/powerpoint/2010/main" val="32725549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72CDCE8-390D-2E99-890F-656DE0EAEA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4150" y="1638470"/>
            <a:ext cx="8161511" cy="47608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10153389" cy="1325563"/>
          </a:xfrm>
        </p:spPr>
        <p:txBody>
          <a:bodyPr>
            <a:normAutofit/>
          </a:bodyPr>
          <a:lstStyle/>
          <a:p>
            <a:r>
              <a:rPr lang="en-US" sz="3600"/>
              <a:t>RQ1</a:t>
            </a:r>
            <a:r>
              <a:rPr lang="en-GB" sz="3600"/>
              <a:t> – </a:t>
            </a:r>
            <a:r>
              <a:rPr lang="en-US" sz="3600"/>
              <a:t>How does emotion in language vary across time and event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19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50CA48D-E99E-5B5D-9BE4-EDB3633E02D7}"/>
              </a:ext>
            </a:extLst>
          </p:cNvPr>
          <p:cNvCxnSpPr>
            <a:cxnSpLocks/>
          </p:cNvCxnSpPr>
          <p:nvPr/>
        </p:nvCxnSpPr>
        <p:spPr>
          <a:xfrm>
            <a:off x="7848391" y="2628465"/>
            <a:ext cx="24334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74">
            <a:extLst>
              <a:ext uri="{FF2B5EF4-FFF2-40B4-BE49-F238E27FC236}">
                <a16:creationId xmlns:a16="http://schemas.microsoft.com/office/drawing/2014/main" id="{3EF61BE5-621A-F628-18DB-2EF35239E740}"/>
              </a:ext>
            </a:extLst>
          </p:cNvPr>
          <p:cNvSpPr txBox="1"/>
          <p:nvPr/>
        </p:nvSpPr>
        <p:spPr>
          <a:xfrm>
            <a:off x="8091733" y="2397632"/>
            <a:ext cx="39786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Commissioner speeches use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more cognitive than affective language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during major crisis events</a:t>
            </a:r>
          </a:p>
        </p:txBody>
      </p:sp>
    </p:spTree>
    <p:extLst>
      <p:ext uri="{BB962C8B-B14F-4D97-AF65-F5344CB8AC3E}">
        <p14:creationId xmlns:p14="http://schemas.microsoft.com/office/powerpoint/2010/main" val="1980409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/>
              <a:t>Investigating the use of reason and emotion in communicating politics of the EU Commis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2</a:t>
            </a:fld>
            <a:endParaRPr lang="en-US"/>
          </a:p>
        </p:txBody>
      </p:sp>
      <p:sp>
        <p:nvSpPr>
          <p:cNvPr id="19" name="TextBox 28">
            <a:extLst>
              <a:ext uri="{FF2B5EF4-FFF2-40B4-BE49-F238E27FC236}">
                <a16:creationId xmlns:a16="http://schemas.microsoft.com/office/drawing/2014/main" id="{769582F9-DA42-992A-981C-14163DB67986}"/>
              </a:ext>
            </a:extLst>
          </p:cNvPr>
          <p:cNvSpPr txBox="1"/>
          <p:nvPr/>
        </p:nvSpPr>
        <p:spPr>
          <a:xfrm>
            <a:off x="740433" y="1415188"/>
            <a:ext cx="50531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The relevance of this question is intuitive</a:t>
            </a:r>
          </a:p>
        </p:txBody>
      </p:sp>
      <p:sp>
        <p:nvSpPr>
          <p:cNvPr id="20" name="Textfeld 3">
            <a:extLst>
              <a:ext uri="{FF2B5EF4-FFF2-40B4-BE49-F238E27FC236}">
                <a16:creationId xmlns:a16="http://schemas.microsoft.com/office/drawing/2014/main" id="{FF9A447F-983E-9A51-446D-5344039A0F61}"/>
              </a:ext>
            </a:extLst>
          </p:cNvPr>
          <p:cNvSpPr txBox="1"/>
          <p:nvPr/>
        </p:nvSpPr>
        <p:spPr>
          <a:xfrm>
            <a:off x="1085287" y="1866672"/>
            <a:ext cx="6021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Politicians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 around the globe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combine rational and emotional language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and choose the right balance depending on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factors that are not yet understood </a:t>
            </a:r>
            <a:r>
              <a:rPr lang="en-US" sz="120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(Gennaro et al. 2021)</a:t>
            </a:r>
            <a:endParaRPr lang="en-US" sz="1200" b="1">
              <a:solidFill>
                <a:schemeClr val="bg1">
                  <a:lumMod val="50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21" name="Gerade Verbindung mit Pfeil 10">
            <a:extLst>
              <a:ext uri="{FF2B5EF4-FFF2-40B4-BE49-F238E27FC236}">
                <a16:creationId xmlns:a16="http://schemas.microsoft.com/office/drawing/2014/main" id="{AE33350E-E474-C9D8-E556-CE181FED83E0}"/>
              </a:ext>
            </a:extLst>
          </p:cNvPr>
          <p:cNvCxnSpPr>
            <a:cxnSpLocks/>
          </p:cNvCxnSpPr>
          <p:nvPr/>
        </p:nvCxnSpPr>
        <p:spPr>
          <a:xfrm>
            <a:off x="841945" y="2023858"/>
            <a:ext cx="243342" cy="0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13">
            <a:extLst>
              <a:ext uri="{FF2B5EF4-FFF2-40B4-BE49-F238E27FC236}">
                <a16:creationId xmlns:a16="http://schemas.microsoft.com/office/drawing/2014/main" id="{23A8C8CE-AE3C-FCB8-97FC-CF6DDABB767F}"/>
              </a:ext>
            </a:extLst>
          </p:cNvPr>
          <p:cNvCxnSpPr>
            <a:cxnSpLocks/>
          </p:cNvCxnSpPr>
          <p:nvPr/>
        </p:nvCxnSpPr>
        <p:spPr>
          <a:xfrm>
            <a:off x="838200" y="1720364"/>
            <a:ext cx="4955381" cy="0"/>
          </a:xfrm>
          <a:prstGeom prst="line">
            <a:avLst/>
          </a:prstGeom>
          <a:ln w="19050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ieren 15">
            <a:extLst>
              <a:ext uri="{FF2B5EF4-FFF2-40B4-BE49-F238E27FC236}">
                <a16:creationId xmlns:a16="http://schemas.microsoft.com/office/drawing/2014/main" id="{65CD0455-2309-E4F8-354D-8265FB656F0D}"/>
              </a:ext>
            </a:extLst>
          </p:cNvPr>
          <p:cNvGrpSpPr/>
          <p:nvPr/>
        </p:nvGrpSpPr>
        <p:grpSpPr>
          <a:xfrm>
            <a:off x="1795901" y="2430998"/>
            <a:ext cx="4840643" cy="1442505"/>
            <a:chOff x="1795901" y="2457374"/>
            <a:chExt cx="4840643" cy="1442505"/>
          </a:xfrm>
        </p:grpSpPr>
        <p:sp>
          <p:nvSpPr>
            <p:cNvPr id="28" name="Textfeld 8">
              <a:extLst>
                <a:ext uri="{FF2B5EF4-FFF2-40B4-BE49-F238E27FC236}">
                  <a16:creationId xmlns:a16="http://schemas.microsoft.com/office/drawing/2014/main" id="{C2939626-9617-ECD1-4DC4-5EFF211F6B94}"/>
                </a:ext>
              </a:extLst>
            </p:cNvPr>
            <p:cNvSpPr txBox="1"/>
            <p:nvPr/>
          </p:nvSpPr>
          <p:spPr>
            <a:xfrm>
              <a:off x="1795901" y="2457374"/>
              <a:ext cx="484064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According to Aristotle, </a:t>
              </a:r>
              <a:r>
                <a:rPr lang="en-US" sz="1200" b="1">
                  <a:latin typeface="Cambria" panose="02040503050406030204" pitchFamily="18" charset="0"/>
                  <a:ea typeface="Cambria" panose="02040503050406030204" pitchFamily="18" charset="0"/>
                </a:rPr>
                <a:t>persuasion is achieved </a:t>
              </a:r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with choosing the right </a:t>
              </a:r>
              <a:r>
                <a:rPr lang="en-US" sz="1200" b="1">
                  <a:latin typeface="Cambria" panose="02040503050406030204" pitchFamily="18" charset="0"/>
                  <a:ea typeface="Cambria" panose="02040503050406030204" pitchFamily="18" charset="0"/>
                </a:rPr>
                <a:t>balance between affect and logical argumentation </a:t>
              </a:r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in language </a:t>
              </a:r>
              <a:r>
                <a:rPr lang="en-US" sz="1200">
                  <a:solidFill>
                    <a:schemeClr val="bg1">
                      <a:lumMod val="50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(Aristotle, </a:t>
              </a:r>
              <a:r>
                <a:rPr lang="en-US" sz="1200" i="1">
                  <a:solidFill>
                    <a:schemeClr val="bg1">
                      <a:lumMod val="50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Rhetoric)</a:t>
              </a:r>
              <a:endParaRPr lang="en-US" sz="120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7" name="Textfeld 24">
              <a:extLst>
                <a:ext uri="{FF2B5EF4-FFF2-40B4-BE49-F238E27FC236}">
                  <a16:creationId xmlns:a16="http://schemas.microsoft.com/office/drawing/2014/main" id="{17DE384F-6A40-D1D5-87C3-DA9C058D5F64}"/>
                </a:ext>
              </a:extLst>
            </p:cNvPr>
            <p:cNvSpPr txBox="1"/>
            <p:nvPr/>
          </p:nvSpPr>
          <p:spPr>
            <a:xfrm>
              <a:off x="1795901" y="3068882"/>
              <a:ext cx="454060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Has there been a shift in communication with Ursula von der Leyen taking over the EU Commission in 2019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Does emotion in language respond to major crises affecting the EU?</a:t>
              </a:r>
            </a:p>
          </p:txBody>
        </p:sp>
      </p:grpSp>
      <p:grpSp>
        <p:nvGrpSpPr>
          <p:cNvPr id="32" name="Gruppieren 33">
            <a:extLst>
              <a:ext uri="{FF2B5EF4-FFF2-40B4-BE49-F238E27FC236}">
                <a16:creationId xmlns:a16="http://schemas.microsoft.com/office/drawing/2014/main" id="{35FD0256-9EE4-95A9-710F-CC3E84F7B11D}"/>
              </a:ext>
            </a:extLst>
          </p:cNvPr>
          <p:cNvGrpSpPr/>
          <p:nvPr/>
        </p:nvGrpSpPr>
        <p:grpSpPr>
          <a:xfrm>
            <a:off x="1795901" y="3925823"/>
            <a:ext cx="4976374" cy="914917"/>
            <a:chOff x="1795901" y="2457374"/>
            <a:chExt cx="4976374" cy="914917"/>
          </a:xfrm>
        </p:grpSpPr>
        <p:sp>
          <p:nvSpPr>
            <p:cNvPr id="37" name="Textfeld 38">
              <a:extLst>
                <a:ext uri="{FF2B5EF4-FFF2-40B4-BE49-F238E27FC236}">
                  <a16:creationId xmlns:a16="http://schemas.microsoft.com/office/drawing/2014/main" id="{84BD8C95-0B85-29D1-27F5-5BB72125113D}"/>
                </a:ext>
              </a:extLst>
            </p:cNvPr>
            <p:cNvSpPr txBox="1"/>
            <p:nvPr/>
          </p:nvSpPr>
          <p:spPr>
            <a:xfrm>
              <a:off x="1795901" y="2457374"/>
              <a:ext cx="497637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latin typeface="Cambria" panose="02040503050406030204" pitchFamily="18" charset="0"/>
                  <a:ea typeface="Cambria" panose="02040503050406030204" pitchFamily="18" charset="0"/>
                </a:rPr>
                <a:t>Evaluating </a:t>
              </a:r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and processing </a:t>
              </a:r>
              <a:r>
                <a:rPr lang="en-US" sz="1200" b="1">
                  <a:latin typeface="Cambria" panose="02040503050406030204" pitchFamily="18" charset="0"/>
                  <a:ea typeface="Cambria" panose="02040503050406030204" pitchFamily="18" charset="0"/>
                </a:rPr>
                <a:t>political communication</a:t>
              </a:r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, it is crucial to </a:t>
              </a:r>
              <a:r>
                <a:rPr lang="en-US" sz="1200" b="1">
                  <a:latin typeface="Cambria" panose="02040503050406030204" pitchFamily="18" charset="0"/>
                  <a:ea typeface="Cambria" panose="02040503050406030204" pitchFamily="18" charset="0"/>
                </a:rPr>
                <a:t>understand how context is impacting choice of language</a:t>
              </a:r>
            </a:p>
          </p:txBody>
        </p:sp>
        <p:sp>
          <p:nvSpPr>
            <p:cNvPr id="36" name="Textfeld 37">
              <a:extLst>
                <a:ext uri="{FF2B5EF4-FFF2-40B4-BE49-F238E27FC236}">
                  <a16:creationId xmlns:a16="http://schemas.microsoft.com/office/drawing/2014/main" id="{1E2B2093-A6FD-C122-BFE0-972667DECF6A}"/>
                </a:ext>
              </a:extLst>
            </p:cNvPr>
            <p:cNvSpPr txBox="1"/>
            <p:nvPr/>
          </p:nvSpPr>
          <p:spPr>
            <a:xfrm>
              <a:off x="1795901" y="2910626"/>
              <a:ext cx="497637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How do political factors affect emotion and reason in language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Can we identify policy areas that are prone to a certain tone?</a:t>
              </a:r>
            </a:p>
          </p:txBody>
        </p:sp>
      </p:grpSp>
      <p:grpSp>
        <p:nvGrpSpPr>
          <p:cNvPr id="41" name="Gruppieren 42">
            <a:extLst>
              <a:ext uri="{FF2B5EF4-FFF2-40B4-BE49-F238E27FC236}">
                <a16:creationId xmlns:a16="http://schemas.microsoft.com/office/drawing/2014/main" id="{DC9D3E09-FF6E-DCA3-4DE1-08D5F4C81EF0}"/>
              </a:ext>
            </a:extLst>
          </p:cNvPr>
          <p:cNvGrpSpPr/>
          <p:nvPr/>
        </p:nvGrpSpPr>
        <p:grpSpPr>
          <a:xfrm>
            <a:off x="1795901" y="5102659"/>
            <a:ext cx="4976374" cy="897333"/>
            <a:chOff x="1795901" y="2457374"/>
            <a:chExt cx="4976374" cy="897333"/>
          </a:xfrm>
        </p:grpSpPr>
        <p:sp>
          <p:nvSpPr>
            <p:cNvPr id="46" name="Textfeld 47">
              <a:extLst>
                <a:ext uri="{FF2B5EF4-FFF2-40B4-BE49-F238E27FC236}">
                  <a16:creationId xmlns:a16="http://schemas.microsoft.com/office/drawing/2014/main" id="{8B8A78CB-F8BD-1B0A-FD01-3EA766C28490}"/>
                </a:ext>
              </a:extLst>
            </p:cNvPr>
            <p:cNvSpPr txBox="1"/>
            <p:nvPr/>
          </p:nvSpPr>
          <p:spPr>
            <a:xfrm>
              <a:off x="1795901" y="2457374"/>
              <a:ext cx="497637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latin typeface="Cambria" panose="02040503050406030204" pitchFamily="18" charset="0"/>
                  <a:ea typeface="Cambria" panose="02040503050406030204" pitchFamily="18" charset="0"/>
                </a:rPr>
                <a:t>The legislative procedure of the EU </a:t>
              </a:r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is centered around the EU commission and its power to propose new law </a:t>
              </a:r>
              <a:r>
                <a:rPr lang="en-US" sz="1200">
                  <a:solidFill>
                    <a:schemeClr val="bg1">
                      <a:lumMod val="50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(</a:t>
              </a:r>
              <a:r>
                <a:rPr lang="en-US" sz="1200" err="1">
                  <a:solidFill>
                    <a:schemeClr val="bg1">
                      <a:lumMod val="50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Blom</a:t>
              </a:r>
              <a:r>
                <a:rPr lang="en-US" sz="1200">
                  <a:solidFill>
                    <a:schemeClr val="bg1">
                      <a:lumMod val="50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-Hansen et al. 2020)</a:t>
              </a:r>
            </a:p>
          </p:txBody>
        </p:sp>
        <p:sp>
          <p:nvSpPr>
            <p:cNvPr id="45" name="Textfeld 46">
              <a:extLst>
                <a:ext uri="{FF2B5EF4-FFF2-40B4-BE49-F238E27FC236}">
                  <a16:creationId xmlns:a16="http://schemas.microsoft.com/office/drawing/2014/main" id="{CC6CD735-07E5-5D04-7DD9-9351DDF80FCC}"/>
                </a:ext>
              </a:extLst>
            </p:cNvPr>
            <p:cNvSpPr txBox="1"/>
            <p:nvPr/>
          </p:nvSpPr>
          <p:spPr>
            <a:xfrm>
              <a:off x="1795901" y="2893042"/>
              <a:ext cx="497637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>
                  <a:latin typeface="Cambria" panose="02040503050406030204" pitchFamily="18" charset="0"/>
                  <a:ea typeface="Cambria" panose="02040503050406030204" pitchFamily="18" charset="0"/>
                </a:rPr>
                <a:t>How does emotion and reason vary by gender/political ideology of commissioners?</a:t>
              </a:r>
            </a:p>
          </p:txBody>
        </p:sp>
      </p:grpSp>
      <p:pic>
        <p:nvPicPr>
          <p:cNvPr id="50" name="Picture 6">
            <a:extLst>
              <a:ext uri="{FF2B5EF4-FFF2-40B4-BE49-F238E27FC236}">
                <a16:creationId xmlns:a16="http://schemas.microsoft.com/office/drawing/2014/main" id="{67A55EEE-7535-5030-2006-01EC132162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34431" y="5164708"/>
            <a:ext cx="358134" cy="35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 descr="Shape&#10;&#10;Description automatically generated with low confidence">
            <a:extLst>
              <a:ext uri="{FF2B5EF4-FFF2-40B4-BE49-F238E27FC236}">
                <a16:creationId xmlns:a16="http://schemas.microsoft.com/office/drawing/2014/main" id="{A04306B6-9E31-BE15-8C39-1B4964DBC90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4" r="6791" b="20585"/>
          <a:stretch/>
        </p:blipFill>
        <p:spPr>
          <a:xfrm>
            <a:off x="1261419" y="2512966"/>
            <a:ext cx="504158" cy="461665"/>
          </a:xfrm>
          <a:prstGeom prst="rect">
            <a:avLst/>
          </a:prstGeom>
        </p:spPr>
      </p:pic>
      <p:pic>
        <p:nvPicPr>
          <p:cNvPr id="54" name="Picture 53" descr="Shape&#10;&#10;Description automatically generated with low confidence">
            <a:extLst>
              <a:ext uri="{FF2B5EF4-FFF2-40B4-BE49-F238E27FC236}">
                <a16:creationId xmlns:a16="http://schemas.microsoft.com/office/drawing/2014/main" id="{8B17027E-0252-071F-2676-1B38CF70C46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96"/>
          <a:stretch/>
        </p:blipFill>
        <p:spPr>
          <a:xfrm>
            <a:off x="1261419" y="3993147"/>
            <a:ext cx="514166" cy="433465"/>
          </a:xfrm>
          <a:prstGeom prst="rect">
            <a:avLst/>
          </a:prstGeom>
        </p:spPr>
      </p:pic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cxnSp>
        <p:nvCxnSpPr>
          <p:cNvPr id="57" name="Gerade Verbindung mit Pfeil 33">
            <a:extLst>
              <a:ext uri="{FF2B5EF4-FFF2-40B4-BE49-F238E27FC236}">
                <a16:creationId xmlns:a16="http://schemas.microsoft.com/office/drawing/2014/main" id="{50702244-C17A-D614-045F-F2BEC4616E45}"/>
              </a:ext>
            </a:extLst>
          </p:cNvPr>
          <p:cNvCxnSpPr>
            <a:cxnSpLocks/>
          </p:cNvCxnSpPr>
          <p:nvPr/>
        </p:nvCxnSpPr>
        <p:spPr>
          <a:xfrm>
            <a:off x="7036249" y="2906374"/>
            <a:ext cx="293914" cy="0"/>
          </a:xfrm>
          <a:prstGeom prst="straightConnector1">
            <a:avLst/>
          </a:prstGeom>
          <a:ln w="38100">
            <a:solidFill>
              <a:srgbClr val="14122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33">
            <a:extLst>
              <a:ext uri="{FF2B5EF4-FFF2-40B4-BE49-F238E27FC236}">
                <a16:creationId xmlns:a16="http://schemas.microsoft.com/office/drawing/2014/main" id="{6548A9B1-4CD4-0761-1D07-339BD11F72FF}"/>
              </a:ext>
            </a:extLst>
          </p:cNvPr>
          <p:cNvCxnSpPr>
            <a:cxnSpLocks/>
          </p:cNvCxnSpPr>
          <p:nvPr/>
        </p:nvCxnSpPr>
        <p:spPr>
          <a:xfrm>
            <a:off x="7036249" y="4331885"/>
            <a:ext cx="293914" cy="0"/>
          </a:xfrm>
          <a:prstGeom prst="straightConnector1">
            <a:avLst/>
          </a:prstGeom>
          <a:ln w="38100">
            <a:solidFill>
              <a:srgbClr val="14122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33">
            <a:extLst>
              <a:ext uri="{FF2B5EF4-FFF2-40B4-BE49-F238E27FC236}">
                <a16:creationId xmlns:a16="http://schemas.microsoft.com/office/drawing/2014/main" id="{7C8FB831-14F9-022D-6DE2-72F553AEC3D2}"/>
              </a:ext>
            </a:extLst>
          </p:cNvPr>
          <p:cNvCxnSpPr>
            <a:cxnSpLocks/>
          </p:cNvCxnSpPr>
          <p:nvPr/>
        </p:nvCxnSpPr>
        <p:spPr>
          <a:xfrm>
            <a:off x="7036249" y="5687179"/>
            <a:ext cx="293914" cy="0"/>
          </a:xfrm>
          <a:prstGeom prst="straightConnector1">
            <a:avLst/>
          </a:prstGeom>
          <a:ln w="38100">
            <a:solidFill>
              <a:srgbClr val="14122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F57A411F-B3C8-4EA3-7417-5D77B030B314}"/>
              </a:ext>
            </a:extLst>
          </p:cNvPr>
          <p:cNvSpPr txBox="1"/>
          <p:nvPr/>
        </p:nvSpPr>
        <p:spPr>
          <a:xfrm>
            <a:off x="8488964" y="5043007"/>
            <a:ext cx="2145323" cy="1169551"/>
          </a:xfrm>
          <a:prstGeom prst="rect">
            <a:avLst/>
          </a:prstGeom>
          <a:noFill/>
          <a:ln w="19050">
            <a:solidFill>
              <a:srgbClr val="BA0020"/>
            </a:solidFill>
          </a:ln>
        </p:spPr>
        <p:txBody>
          <a:bodyPr wrap="square" rtlCol="0">
            <a:spAutoFit/>
          </a:bodyPr>
          <a:lstStyle/>
          <a:p>
            <a:pPr marL="0" lvl="1" indent="0">
              <a:buNone/>
            </a:pPr>
            <a:r>
              <a:rPr lang="en-US" sz="1400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DD4B7F2-0792-E936-0E06-6705D9B02C40}"/>
              </a:ext>
            </a:extLst>
          </p:cNvPr>
          <p:cNvSpPr txBox="1"/>
          <p:nvPr/>
        </p:nvSpPr>
        <p:spPr>
          <a:xfrm>
            <a:off x="8488964" y="3873503"/>
            <a:ext cx="2145323" cy="954107"/>
          </a:xfrm>
          <a:prstGeom prst="rect">
            <a:avLst/>
          </a:prstGeom>
          <a:noFill/>
          <a:ln w="19050">
            <a:solidFill>
              <a:srgbClr val="BA0020"/>
            </a:solidFill>
          </a:ln>
        </p:spPr>
        <p:txBody>
          <a:bodyPr wrap="square" rtlCol="0">
            <a:spAutoFit/>
          </a:bodyPr>
          <a:lstStyle/>
          <a:p>
            <a:pPr marL="0" lvl="1" indent="0">
              <a:buNone/>
            </a:pPr>
            <a:r>
              <a:rPr lang="en-US" sz="1400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pPr marL="0" lvl="1" indent="0">
              <a:buNone/>
            </a:pPr>
            <a:r>
              <a:rPr lang="en-US" sz="14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How does emotion in language vary across political topics?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5038EF6-0AEA-223E-0E38-AF648C3D519C}"/>
              </a:ext>
            </a:extLst>
          </p:cNvPr>
          <p:cNvSpPr txBox="1"/>
          <p:nvPr/>
        </p:nvSpPr>
        <p:spPr>
          <a:xfrm>
            <a:off x="8488964" y="2605299"/>
            <a:ext cx="2145323" cy="954107"/>
          </a:xfrm>
          <a:prstGeom prst="rect">
            <a:avLst/>
          </a:prstGeom>
          <a:noFill/>
          <a:ln w="19050">
            <a:solidFill>
              <a:srgbClr val="BA0020"/>
            </a:solidFill>
          </a:ln>
        </p:spPr>
        <p:txBody>
          <a:bodyPr wrap="square" rtlCol="0">
            <a:spAutoFit/>
          </a:bodyPr>
          <a:lstStyle/>
          <a:p>
            <a:pPr marL="0" lvl="1" indent="0">
              <a:buNone/>
            </a:pPr>
            <a:r>
              <a:rPr lang="en-US" sz="1400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in language vary across time and events?</a:t>
            </a:r>
          </a:p>
        </p:txBody>
      </p:sp>
    </p:spTree>
    <p:extLst>
      <p:ext uri="{BB962C8B-B14F-4D97-AF65-F5344CB8AC3E}">
        <p14:creationId xmlns:p14="http://schemas.microsoft.com/office/powerpoint/2010/main" val="5751407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72CDCE8-390D-2E99-890F-656DE0EAEA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4150" y="1638470"/>
            <a:ext cx="8161511" cy="476088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10153389" cy="1325563"/>
          </a:xfrm>
        </p:spPr>
        <p:txBody>
          <a:bodyPr>
            <a:normAutofit/>
          </a:bodyPr>
          <a:lstStyle/>
          <a:p>
            <a:r>
              <a:rPr lang="en-US" sz="3600"/>
              <a:t>RQ1</a:t>
            </a:r>
            <a:r>
              <a:rPr lang="en-GB" sz="3600"/>
              <a:t> – </a:t>
            </a:r>
            <a:r>
              <a:rPr lang="en-US" sz="3600"/>
              <a:t>How does emotion in language vary across time and event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20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cxnSp>
        <p:nvCxnSpPr>
          <p:cNvPr id="4" name="Gerade Verbindung mit Pfeil 10">
            <a:extLst>
              <a:ext uri="{FF2B5EF4-FFF2-40B4-BE49-F238E27FC236}">
                <a16:creationId xmlns:a16="http://schemas.microsoft.com/office/drawing/2014/main" id="{C7B242CE-5D9C-D21F-86C6-BFB444490819}"/>
              </a:ext>
            </a:extLst>
          </p:cNvPr>
          <p:cNvCxnSpPr>
            <a:cxnSpLocks/>
          </p:cNvCxnSpPr>
          <p:nvPr/>
        </p:nvCxnSpPr>
        <p:spPr>
          <a:xfrm>
            <a:off x="7848391" y="2628465"/>
            <a:ext cx="24334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74">
            <a:extLst>
              <a:ext uri="{FF2B5EF4-FFF2-40B4-BE49-F238E27FC236}">
                <a16:creationId xmlns:a16="http://schemas.microsoft.com/office/drawing/2014/main" id="{D32535B6-9CBC-3EE6-2C39-F59801A43395}"/>
              </a:ext>
            </a:extLst>
          </p:cNvPr>
          <p:cNvSpPr txBox="1"/>
          <p:nvPr/>
        </p:nvSpPr>
        <p:spPr>
          <a:xfrm>
            <a:off x="8091733" y="2397632"/>
            <a:ext cx="39786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Commissioner speeches use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more cognitive than affective language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during major crisis events</a:t>
            </a:r>
          </a:p>
        </p:txBody>
      </p:sp>
    </p:spTree>
    <p:extLst>
      <p:ext uri="{BB962C8B-B14F-4D97-AF65-F5344CB8AC3E}">
        <p14:creationId xmlns:p14="http://schemas.microsoft.com/office/powerpoint/2010/main" val="12219850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10153389" cy="1325563"/>
          </a:xfrm>
        </p:spPr>
        <p:txBody>
          <a:bodyPr>
            <a:normAutofit/>
          </a:bodyPr>
          <a:lstStyle/>
          <a:p>
            <a:r>
              <a:rPr lang="en-US" sz="3600"/>
              <a:t>RQ2</a:t>
            </a:r>
            <a:r>
              <a:rPr lang="en-GB" sz="3600" b="1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 – </a:t>
            </a:r>
            <a:r>
              <a:rPr lang="en-US" sz="3600"/>
              <a:t>How does emotion in language vary across political topic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21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pic>
        <p:nvPicPr>
          <p:cNvPr id="8" name="Picture 7" descr="Graphical user interface, chart, line chart, histogram&#10;&#10;Description automatically generated">
            <a:extLst>
              <a:ext uri="{FF2B5EF4-FFF2-40B4-BE49-F238E27FC236}">
                <a16:creationId xmlns:a16="http://schemas.microsoft.com/office/drawing/2014/main" id="{3B2B8F57-0209-A6BA-AC15-80F74F45C7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77" y="1383758"/>
            <a:ext cx="8095665" cy="4722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8725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9936271" cy="1325563"/>
          </a:xfrm>
        </p:spPr>
        <p:txBody>
          <a:bodyPr>
            <a:normAutofit/>
          </a:bodyPr>
          <a:lstStyle/>
          <a:p>
            <a:r>
              <a:rPr lang="en-US" sz="3600"/>
              <a:t>RQ3 </a:t>
            </a:r>
            <a:r>
              <a:rPr lang="en-GB" sz="3600" b="1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– </a:t>
            </a:r>
            <a:r>
              <a:rPr lang="en-US" sz="3600"/>
              <a:t>How does emotion and reason vary by gender and political ideology of commissioner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22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685747C4-5D89-A931-A122-4D4ACB0546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29" y="1383758"/>
            <a:ext cx="8688862" cy="506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150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/>
              <a:t>Building document embeddings from word representations in vector space for EU speech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A8B95F-395D-4D08-B83D-856816AC49FF}"/>
              </a:ext>
            </a:extLst>
          </p:cNvPr>
          <p:cNvCxnSpPr>
            <a:cxnSpLocks/>
          </p:cNvCxnSpPr>
          <p:nvPr/>
        </p:nvCxnSpPr>
        <p:spPr>
          <a:xfrm>
            <a:off x="8128000" y="2064025"/>
            <a:ext cx="0" cy="3036015"/>
          </a:xfrm>
          <a:prstGeom prst="line">
            <a:avLst/>
          </a:prstGeom>
          <a:ln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E77A6D09-B582-49C0-B333-86C6617DE061}"/>
              </a:ext>
            </a:extLst>
          </p:cNvPr>
          <p:cNvSpPr txBox="1"/>
          <p:nvPr/>
        </p:nvSpPr>
        <p:spPr>
          <a:xfrm>
            <a:off x="838200" y="1651948"/>
            <a:ext cx="208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mbria Math" panose="02040503050406030204" pitchFamily="18" charset="0"/>
                <a:ea typeface="Cambria Math" panose="02040503050406030204" pitchFamily="18" charset="0"/>
              </a:rPr>
              <a:t>Data acquisi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767BFD-E714-4207-A0FE-2143B7409410}"/>
              </a:ext>
            </a:extLst>
          </p:cNvPr>
          <p:cNvSpPr txBox="1"/>
          <p:nvPr/>
        </p:nvSpPr>
        <p:spPr>
          <a:xfrm>
            <a:off x="4425949" y="1649239"/>
            <a:ext cx="2559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mbria Math" panose="02040503050406030204" pitchFamily="18" charset="0"/>
                <a:ea typeface="Cambria Math" panose="02040503050406030204" pitchFamily="18" charset="0"/>
              </a:rPr>
              <a:t>Vector represent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4D82E-290C-44A2-B527-EE8F7FB8A539}"/>
              </a:ext>
            </a:extLst>
          </p:cNvPr>
          <p:cNvSpPr txBox="1"/>
          <p:nvPr/>
        </p:nvSpPr>
        <p:spPr>
          <a:xfrm>
            <a:off x="8486475" y="1656321"/>
            <a:ext cx="2761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mbria Math" panose="02040503050406030204" pitchFamily="18" charset="0"/>
                <a:ea typeface="Cambria Math" panose="02040503050406030204" pitchFamily="18" charset="0"/>
              </a:rPr>
              <a:t>Geometric dimensions 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6B15DA1-2D3B-4D54-ABEB-D8D9963F0806}"/>
              </a:ext>
            </a:extLst>
          </p:cNvPr>
          <p:cNvCxnSpPr>
            <a:cxnSpLocks/>
          </p:cNvCxnSpPr>
          <p:nvPr/>
        </p:nvCxnSpPr>
        <p:spPr>
          <a:xfrm>
            <a:off x="4064000" y="2064025"/>
            <a:ext cx="0" cy="3036015"/>
          </a:xfrm>
          <a:prstGeom prst="line">
            <a:avLst/>
          </a:prstGeom>
          <a:ln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3">
            <a:extLst>
              <a:ext uri="{FF2B5EF4-FFF2-40B4-BE49-F238E27FC236}">
                <a16:creationId xmlns:a16="http://schemas.microsoft.com/office/drawing/2014/main" id="{23F6C8AD-6D07-47E9-B93E-B8F7AF465B3C}"/>
              </a:ext>
            </a:extLst>
          </p:cNvPr>
          <p:cNvCxnSpPr>
            <a:cxnSpLocks/>
          </p:cNvCxnSpPr>
          <p:nvPr/>
        </p:nvCxnSpPr>
        <p:spPr>
          <a:xfrm>
            <a:off x="3854689" y="1850513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3">
            <a:extLst>
              <a:ext uri="{FF2B5EF4-FFF2-40B4-BE49-F238E27FC236}">
                <a16:creationId xmlns:a16="http://schemas.microsoft.com/office/drawing/2014/main" id="{5A1F25D6-0AAD-448E-A150-CBF078FC6F7F}"/>
              </a:ext>
            </a:extLst>
          </p:cNvPr>
          <p:cNvCxnSpPr>
            <a:cxnSpLocks/>
          </p:cNvCxnSpPr>
          <p:nvPr/>
        </p:nvCxnSpPr>
        <p:spPr>
          <a:xfrm>
            <a:off x="7950649" y="1850513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6EBC18F3-E12A-413D-BC3B-5E466A018375}"/>
              </a:ext>
            </a:extLst>
          </p:cNvPr>
          <p:cNvSpPr txBox="1"/>
          <p:nvPr/>
        </p:nvSpPr>
        <p:spPr>
          <a:xfrm>
            <a:off x="838200" y="1970537"/>
            <a:ext cx="298045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Using dynamic web scraping with </a:t>
            </a:r>
            <a:r>
              <a:rPr lang="en-US" sz="1400" i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elenium</a:t>
            </a:r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we parsed the EU Commission’s Press Corner to retain all 2150 speeches from the current college members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BF96FF9-7CCC-442B-8A39-988F91EF56A4}"/>
              </a:ext>
            </a:extLst>
          </p:cNvPr>
          <p:cNvSpPr txBox="1"/>
          <p:nvPr/>
        </p:nvSpPr>
        <p:spPr>
          <a:xfrm>
            <a:off x="4422476" y="1970538"/>
            <a:ext cx="298045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rafting document representations from training </a:t>
            </a:r>
            <a:r>
              <a:rPr lang="en-US" sz="1400" i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word2vec  </a:t>
            </a:r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word embeddings on our corpus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7BC6A6C-EA69-4D43-AC11-5541702DF016}"/>
              </a:ext>
            </a:extLst>
          </p:cNvPr>
          <p:cNvSpPr txBox="1"/>
          <p:nvPr/>
        </p:nvSpPr>
        <p:spPr>
          <a:xfrm>
            <a:off x="8486475" y="1977619"/>
            <a:ext cx="298045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rawing on two wordlists from the LIWC dictionary (Pennebaker et al. 2015), we also calculate embeddings for all </a:t>
            </a:r>
            <a:r>
              <a:rPr lang="en-US" sz="1400" i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ognitive </a:t>
            </a:r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nd </a:t>
            </a:r>
            <a:r>
              <a:rPr lang="en-US" sz="1400" i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ffective </a:t>
            </a:r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words and the cosine similarities with speeches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8B92CB-4149-09DE-4FCB-B356F78AE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3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43EBAD-CB19-CD55-E750-FBE04129E6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6993" y="4785809"/>
            <a:ext cx="2264917" cy="1665939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F32E9BAF-BC26-843A-A61D-78D750A3FE61}"/>
              </a:ext>
            </a:extLst>
          </p:cNvPr>
          <p:cNvGrpSpPr/>
          <p:nvPr/>
        </p:nvGrpSpPr>
        <p:grpSpPr>
          <a:xfrm>
            <a:off x="12233432" y="1272771"/>
            <a:ext cx="3597570" cy="2382807"/>
            <a:chOff x="3904379" y="4564128"/>
            <a:chExt cx="3597570" cy="2382807"/>
          </a:xfrm>
        </p:grpSpPr>
        <p:pic>
          <p:nvPicPr>
            <p:cNvPr id="11" name="Picture 10" descr="A picture containing building, building material&#10;&#10;Description automatically generated">
              <a:extLst>
                <a:ext uri="{FF2B5EF4-FFF2-40B4-BE49-F238E27FC236}">
                  <a16:creationId xmlns:a16="http://schemas.microsoft.com/office/drawing/2014/main" id="{FFD81F8A-DC8F-2EE6-F3F0-CC43FF07A5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8279" y="4564128"/>
              <a:ext cx="1770149" cy="1827941"/>
            </a:xfrm>
            <a:prstGeom prst="rect">
              <a:avLst/>
            </a:prstGeom>
          </p:spPr>
        </p:pic>
        <p:sp>
          <p:nvSpPr>
            <p:cNvPr id="17" name="Left Brace 16">
              <a:extLst>
                <a:ext uri="{FF2B5EF4-FFF2-40B4-BE49-F238E27FC236}">
                  <a16:creationId xmlns:a16="http://schemas.microsoft.com/office/drawing/2014/main" id="{D7BD9843-5BEC-0DAB-2BB2-013DBDABCC33}"/>
                </a:ext>
              </a:extLst>
            </p:cNvPr>
            <p:cNvSpPr/>
            <p:nvPr/>
          </p:nvSpPr>
          <p:spPr>
            <a:xfrm>
              <a:off x="4921946" y="4770995"/>
              <a:ext cx="211500" cy="1191694"/>
            </a:xfrm>
            <a:prstGeom prst="leftBrace">
              <a:avLst>
                <a:gd name="adj1" fmla="val 25464"/>
                <a:gd name="adj2" fmla="val 48557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9" name="Left Brace 18">
              <a:extLst>
                <a:ext uri="{FF2B5EF4-FFF2-40B4-BE49-F238E27FC236}">
                  <a16:creationId xmlns:a16="http://schemas.microsoft.com/office/drawing/2014/main" id="{31A31F59-F83D-E425-30D2-D8564ECB1D66}"/>
                </a:ext>
              </a:extLst>
            </p:cNvPr>
            <p:cNvSpPr/>
            <p:nvPr/>
          </p:nvSpPr>
          <p:spPr>
            <a:xfrm rot="17635791">
              <a:off x="5561481" y="5875944"/>
              <a:ext cx="235285" cy="1090113"/>
            </a:xfrm>
            <a:prstGeom prst="leftBrace">
              <a:avLst>
                <a:gd name="adj1" fmla="val 25464"/>
                <a:gd name="adj2" fmla="val 48557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1" name="Left Brace 20">
              <a:extLst>
                <a:ext uri="{FF2B5EF4-FFF2-40B4-BE49-F238E27FC236}">
                  <a16:creationId xmlns:a16="http://schemas.microsoft.com/office/drawing/2014/main" id="{604680D1-3F3B-F16E-E14A-901208FDD18C}"/>
                </a:ext>
              </a:extLst>
            </p:cNvPr>
            <p:cNvSpPr/>
            <p:nvPr/>
          </p:nvSpPr>
          <p:spPr>
            <a:xfrm rot="13576226">
              <a:off x="6754741" y="5828628"/>
              <a:ext cx="235285" cy="835484"/>
            </a:xfrm>
            <a:prstGeom prst="leftBrace">
              <a:avLst>
                <a:gd name="adj1" fmla="val 25464"/>
                <a:gd name="adj2" fmla="val 48557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C09CAA7-4B22-0BF4-A560-2C8173BEDBB3}"/>
                </a:ext>
              </a:extLst>
            </p:cNvPr>
            <p:cNvSpPr txBox="1"/>
            <p:nvPr/>
          </p:nvSpPr>
          <p:spPr>
            <a:xfrm>
              <a:off x="3904379" y="5208761"/>
              <a:ext cx="15952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b="1">
                  <a:latin typeface="Cambria" panose="02040503050406030204" pitchFamily="18" charset="0"/>
                  <a:ea typeface="Cambria" panose="02040503050406030204" pitchFamily="18" charset="0"/>
                </a:rPr>
                <a:t>1792 speeches</a:t>
              </a:r>
              <a:endParaRPr lang="en-DE" sz="1000" b="1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77C8C7D-D94A-25F8-EADA-31A4463329C1}"/>
                </a:ext>
              </a:extLst>
            </p:cNvPr>
            <p:cNvSpPr txBox="1"/>
            <p:nvPr/>
          </p:nvSpPr>
          <p:spPr>
            <a:xfrm rot="1376883">
              <a:off x="4882075" y="6496068"/>
              <a:ext cx="14122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b="1">
                  <a:latin typeface="Cambria" panose="02040503050406030204" pitchFamily="18" charset="0"/>
                  <a:ea typeface="Cambria" panose="02040503050406030204" pitchFamily="18" charset="0"/>
                </a:rPr>
                <a:t>300 words padding</a:t>
              </a:r>
              <a:endParaRPr lang="en-DE" sz="1000" b="1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C1B6F5A-F9DE-A32F-77BE-FCE1CB41654E}"/>
                </a:ext>
              </a:extLst>
            </p:cNvPr>
            <p:cNvSpPr txBox="1"/>
            <p:nvPr/>
          </p:nvSpPr>
          <p:spPr>
            <a:xfrm rot="18799728">
              <a:off x="6595747" y="6040734"/>
              <a:ext cx="141229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b="1">
                  <a:latin typeface="Cambria" panose="02040503050406030204" pitchFamily="18" charset="0"/>
                  <a:ea typeface="Cambria" panose="02040503050406030204" pitchFamily="18" charset="0"/>
                </a:rPr>
                <a:t>300-dimensional embedding</a:t>
              </a:r>
              <a:endParaRPr lang="en-DE" sz="1000" b="1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sp>
        <p:nvSpPr>
          <p:cNvPr id="29" name="Textfeld 46">
            <a:extLst>
              <a:ext uri="{FF2B5EF4-FFF2-40B4-BE49-F238E27FC236}">
                <a16:creationId xmlns:a16="http://schemas.microsoft.com/office/drawing/2014/main" id="{66579E08-E14F-69B5-F693-663EFF0B089B}"/>
              </a:ext>
            </a:extLst>
          </p:cNvPr>
          <p:cNvSpPr txBox="1"/>
          <p:nvPr/>
        </p:nvSpPr>
        <p:spPr>
          <a:xfrm>
            <a:off x="1244423" y="3158578"/>
            <a:ext cx="2743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Filter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 stop words, special characters, numbers and non-English documents, short words, and tags</a:t>
            </a:r>
          </a:p>
        </p:txBody>
      </p:sp>
      <p:cxnSp>
        <p:nvCxnSpPr>
          <p:cNvPr id="31" name="Gerade Verbindung mit Pfeil 33">
            <a:extLst>
              <a:ext uri="{FF2B5EF4-FFF2-40B4-BE49-F238E27FC236}">
                <a16:creationId xmlns:a16="http://schemas.microsoft.com/office/drawing/2014/main" id="{0158BFD6-06B3-626D-635C-B8F87BC7C313}"/>
              </a:ext>
            </a:extLst>
          </p:cNvPr>
          <p:cNvCxnSpPr>
            <a:cxnSpLocks/>
          </p:cNvCxnSpPr>
          <p:nvPr/>
        </p:nvCxnSpPr>
        <p:spPr>
          <a:xfrm>
            <a:off x="-4005489" y="1130272"/>
            <a:ext cx="39634" cy="0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46">
            <a:extLst>
              <a:ext uri="{FF2B5EF4-FFF2-40B4-BE49-F238E27FC236}">
                <a16:creationId xmlns:a16="http://schemas.microsoft.com/office/drawing/2014/main" id="{9AD4AE4B-4B6E-2FA5-0A1C-0CA3FB71598C}"/>
              </a:ext>
            </a:extLst>
          </p:cNvPr>
          <p:cNvSpPr txBox="1"/>
          <p:nvPr/>
        </p:nvSpPr>
        <p:spPr>
          <a:xfrm>
            <a:off x="1234720" y="3746625"/>
            <a:ext cx="27431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Matching political parties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of 27 commissioners by hand</a:t>
            </a:r>
          </a:p>
        </p:txBody>
      </p:sp>
      <p:cxnSp>
        <p:nvCxnSpPr>
          <p:cNvPr id="33" name="Gerade Verbindung mit Pfeil 33">
            <a:extLst>
              <a:ext uri="{FF2B5EF4-FFF2-40B4-BE49-F238E27FC236}">
                <a16:creationId xmlns:a16="http://schemas.microsoft.com/office/drawing/2014/main" id="{9F1A3056-2B73-53D3-4789-B23BC4371022}"/>
              </a:ext>
            </a:extLst>
          </p:cNvPr>
          <p:cNvCxnSpPr>
            <a:cxnSpLocks/>
          </p:cNvCxnSpPr>
          <p:nvPr/>
        </p:nvCxnSpPr>
        <p:spPr>
          <a:xfrm>
            <a:off x="931103" y="3905164"/>
            <a:ext cx="293914" cy="0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46">
            <a:extLst>
              <a:ext uri="{FF2B5EF4-FFF2-40B4-BE49-F238E27FC236}">
                <a16:creationId xmlns:a16="http://schemas.microsoft.com/office/drawing/2014/main" id="{70B30DBB-356F-89C3-3DD1-ADA7AE52C582}"/>
              </a:ext>
            </a:extLst>
          </p:cNvPr>
          <p:cNvSpPr txBox="1"/>
          <p:nvPr/>
        </p:nvSpPr>
        <p:spPr>
          <a:xfrm>
            <a:off x="1244423" y="4172357"/>
            <a:ext cx="27431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Joining political scores of parties from </a:t>
            </a:r>
            <a:r>
              <a:rPr lang="en-US" sz="1200" b="1" i="1">
                <a:latin typeface="Cambria" panose="02040503050406030204" pitchFamily="18" charset="0"/>
                <a:ea typeface="Cambria" panose="02040503050406030204" pitchFamily="18" charset="0"/>
              </a:rPr>
              <a:t>Chapel Hill Expert Survey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data base</a:t>
            </a:r>
          </a:p>
        </p:txBody>
      </p:sp>
      <p:cxnSp>
        <p:nvCxnSpPr>
          <p:cNvPr id="35" name="Gerade Verbindung mit Pfeil 33">
            <a:extLst>
              <a:ext uri="{FF2B5EF4-FFF2-40B4-BE49-F238E27FC236}">
                <a16:creationId xmlns:a16="http://schemas.microsoft.com/office/drawing/2014/main" id="{E72B67F2-A9A4-7B7A-D2B5-0C9224DD9B49}"/>
              </a:ext>
            </a:extLst>
          </p:cNvPr>
          <p:cNvCxnSpPr>
            <a:cxnSpLocks/>
          </p:cNvCxnSpPr>
          <p:nvPr/>
        </p:nvCxnSpPr>
        <p:spPr>
          <a:xfrm>
            <a:off x="940806" y="4330896"/>
            <a:ext cx="293914" cy="0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>
            <a:extLst>
              <a:ext uri="{FF2B5EF4-FFF2-40B4-BE49-F238E27FC236}">
                <a16:creationId xmlns:a16="http://schemas.microsoft.com/office/drawing/2014/main" id="{C49EA35D-1E35-09E6-EE22-BB32553E34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1094" y="5398307"/>
            <a:ext cx="1920880" cy="1165315"/>
          </a:xfrm>
          <a:prstGeom prst="rect">
            <a:avLst/>
          </a:prstGeom>
        </p:spPr>
      </p:pic>
      <p:pic>
        <p:nvPicPr>
          <p:cNvPr id="1026" name="Picture 2" descr="word2vec">
            <a:extLst>
              <a:ext uri="{FF2B5EF4-FFF2-40B4-BE49-F238E27FC236}">
                <a16:creationId xmlns:a16="http://schemas.microsoft.com/office/drawing/2014/main" id="{AD9DA9F8-6DC6-00D1-AE73-EBFF55D86E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3884" y="2939965"/>
            <a:ext cx="1773419" cy="93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8" name="Gerade Verbindung mit Pfeil 33">
            <a:extLst>
              <a:ext uri="{FF2B5EF4-FFF2-40B4-BE49-F238E27FC236}">
                <a16:creationId xmlns:a16="http://schemas.microsoft.com/office/drawing/2014/main" id="{E4137540-4465-526A-C317-3ACD8021CE89}"/>
              </a:ext>
            </a:extLst>
          </p:cNvPr>
          <p:cNvCxnSpPr>
            <a:cxnSpLocks/>
          </p:cNvCxnSpPr>
          <p:nvPr/>
        </p:nvCxnSpPr>
        <p:spPr>
          <a:xfrm>
            <a:off x="931103" y="3311470"/>
            <a:ext cx="293914" cy="0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6">
            <a:extLst>
              <a:ext uri="{FF2B5EF4-FFF2-40B4-BE49-F238E27FC236}">
                <a16:creationId xmlns:a16="http://schemas.microsoft.com/office/drawing/2014/main" id="{0680FAB9-0CED-AF7F-5F2D-DA875572E916}"/>
              </a:ext>
            </a:extLst>
          </p:cNvPr>
          <p:cNvSpPr txBox="1"/>
          <p:nvPr/>
        </p:nvSpPr>
        <p:spPr>
          <a:xfrm>
            <a:off x="6426944" y="2709018"/>
            <a:ext cx="14344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1.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Using </a:t>
            </a:r>
            <a:r>
              <a:rPr lang="en-US" sz="1200" i="1" err="1">
                <a:latin typeface="Cambria" panose="02040503050406030204" pitchFamily="18" charset="0"/>
                <a:ea typeface="Cambria" panose="02040503050406030204" pitchFamily="18" charset="0"/>
              </a:rPr>
              <a:t>gensim</a:t>
            </a:r>
            <a:r>
              <a:rPr lang="en-US" sz="1200" err="1">
                <a:latin typeface="Cambria" panose="02040503050406030204" pitchFamily="18" charset="0"/>
                <a:ea typeface="Cambria" panose="02040503050406030204" pitchFamily="18" charset="0"/>
              </a:rPr>
              <a:t>’s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 implementation, we trained our own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word2vec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 embeddings </a:t>
            </a:r>
            <a:r>
              <a:rPr lang="en-US" sz="120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(</a:t>
            </a:r>
            <a:r>
              <a:rPr lang="en-US" sz="1200" err="1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ikolov</a:t>
            </a:r>
            <a:r>
              <a:rPr lang="en-US" sz="120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2013)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</p:txBody>
      </p:sp>
      <p:sp>
        <p:nvSpPr>
          <p:cNvPr id="50" name="Textfeld 46">
            <a:extLst>
              <a:ext uri="{FF2B5EF4-FFF2-40B4-BE49-F238E27FC236}">
                <a16:creationId xmlns:a16="http://schemas.microsoft.com/office/drawing/2014/main" id="{DE9409D5-EDF8-1E2F-F54B-AE19921C0806}"/>
              </a:ext>
            </a:extLst>
          </p:cNvPr>
          <p:cNvSpPr txBox="1"/>
          <p:nvPr/>
        </p:nvSpPr>
        <p:spPr>
          <a:xfrm>
            <a:off x="4411806" y="3968806"/>
            <a:ext cx="17176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2.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Using these embeddings and a </a:t>
            </a:r>
            <a:r>
              <a:rPr lang="en-US" sz="1200" b="1" err="1">
                <a:latin typeface="Cambria" panose="02040503050406030204" pitchFamily="18" charset="0"/>
                <a:ea typeface="Cambria" panose="02040503050406030204" pitchFamily="18" charset="0"/>
              </a:rPr>
              <a:t>tfidf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200" b="1" err="1">
                <a:latin typeface="Cambria" panose="02040503050406030204" pitchFamily="18" charset="0"/>
                <a:ea typeface="Cambria" panose="02040503050406030204" pitchFamily="18" charset="0"/>
              </a:rPr>
              <a:t>dtm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, we calculated the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weighted average for each document’s word embeddings</a:t>
            </a:r>
          </a:p>
        </p:txBody>
      </p:sp>
      <p:sp>
        <p:nvSpPr>
          <p:cNvPr id="51" name="Textfeld 46">
            <a:extLst>
              <a:ext uri="{FF2B5EF4-FFF2-40B4-BE49-F238E27FC236}">
                <a16:creationId xmlns:a16="http://schemas.microsoft.com/office/drawing/2014/main" id="{2CF63A10-1ABC-01DA-F326-56E47C626253}"/>
              </a:ext>
            </a:extLst>
          </p:cNvPr>
          <p:cNvSpPr txBox="1"/>
          <p:nvPr/>
        </p:nvSpPr>
        <p:spPr>
          <a:xfrm>
            <a:off x="6437906" y="3948676"/>
            <a:ext cx="143449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3.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Getting a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 300-dimensional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vector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 representation of each speech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in our data set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b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(1792 X 300)</a:t>
            </a:r>
          </a:p>
        </p:txBody>
      </p:sp>
      <p:cxnSp>
        <p:nvCxnSpPr>
          <p:cNvPr id="52" name="Gerade Verbindung mit Pfeil 33">
            <a:extLst>
              <a:ext uri="{FF2B5EF4-FFF2-40B4-BE49-F238E27FC236}">
                <a16:creationId xmlns:a16="http://schemas.microsoft.com/office/drawing/2014/main" id="{5DEF0402-B773-6E84-5B62-55D82A409279}"/>
              </a:ext>
            </a:extLst>
          </p:cNvPr>
          <p:cNvCxnSpPr>
            <a:cxnSpLocks/>
          </p:cNvCxnSpPr>
          <p:nvPr/>
        </p:nvCxnSpPr>
        <p:spPr>
          <a:xfrm>
            <a:off x="6079486" y="4724225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>
            <a:extLst>
              <a:ext uri="{FF2B5EF4-FFF2-40B4-BE49-F238E27FC236}">
                <a16:creationId xmlns:a16="http://schemas.microsoft.com/office/drawing/2014/main" id="{0D91AE4E-DA22-4CB5-7D4B-D1C0F9CF88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1016" y="5454006"/>
            <a:ext cx="1434492" cy="80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Gerade Verbindung mit Pfeil 33">
            <a:extLst>
              <a:ext uri="{FF2B5EF4-FFF2-40B4-BE49-F238E27FC236}">
                <a16:creationId xmlns:a16="http://schemas.microsoft.com/office/drawing/2014/main" id="{87F9BF86-1494-81B1-0F49-5A065BAAB7CD}"/>
              </a:ext>
            </a:extLst>
          </p:cNvPr>
          <p:cNvCxnSpPr>
            <a:cxnSpLocks/>
          </p:cNvCxnSpPr>
          <p:nvPr/>
        </p:nvCxnSpPr>
        <p:spPr>
          <a:xfrm>
            <a:off x="6013916" y="5835407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feld 46">
            <a:extLst>
              <a:ext uri="{FF2B5EF4-FFF2-40B4-BE49-F238E27FC236}">
                <a16:creationId xmlns:a16="http://schemas.microsoft.com/office/drawing/2014/main" id="{7762289D-5CC4-26BC-1394-28C6A5CB19EE}"/>
              </a:ext>
            </a:extLst>
          </p:cNvPr>
          <p:cNvSpPr txBox="1"/>
          <p:nvPr/>
        </p:nvSpPr>
        <p:spPr>
          <a:xfrm>
            <a:off x="5573593" y="5590654"/>
            <a:ext cx="171766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err="1">
                <a:latin typeface="Cambria" panose="02040503050406030204" pitchFamily="18" charset="0"/>
                <a:ea typeface="Cambria" panose="02040503050406030204" pitchFamily="18" charset="0"/>
              </a:rPr>
              <a:t>tfidf</a:t>
            </a:r>
            <a:r>
              <a:rPr lang="en-US" sz="800" b="1">
                <a:latin typeface="Cambria" panose="02040503050406030204" pitchFamily="18" charset="0"/>
                <a:ea typeface="Cambria" panose="02040503050406030204" pitchFamily="18" charset="0"/>
              </a:rPr>
              <a:t>-weighted </a:t>
            </a:r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mean</a:t>
            </a:r>
          </a:p>
        </p:txBody>
      </p:sp>
      <p:pic>
        <p:nvPicPr>
          <p:cNvPr id="59" name="Picture 58" descr="Diagram&#10;&#10;Description automatically generated">
            <a:extLst>
              <a:ext uri="{FF2B5EF4-FFF2-40B4-BE49-F238E27FC236}">
                <a16:creationId xmlns:a16="http://schemas.microsoft.com/office/drawing/2014/main" id="{E4BF8613-0B23-6D23-BE2A-AFC9D93F60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7480" y="4686792"/>
            <a:ext cx="2860001" cy="1354945"/>
          </a:xfrm>
          <a:prstGeom prst="rect">
            <a:avLst/>
          </a:prstGeom>
        </p:spPr>
      </p:pic>
      <p:cxnSp>
        <p:nvCxnSpPr>
          <p:cNvPr id="60" name="Gerade Verbindung mit Pfeil 33">
            <a:extLst>
              <a:ext uri="{FF2B5EF4-FFF2-40B4-BE49-F238E27FC236}">
                <a16:creationId xmlns:a16="http://schemas.microsoft.com/office/drawing/2014/main" id="{75BEC58F-33A2-CE87-3FEB-6636D36BA469}"/>
              </a:ext>
            </a:extLst>
          </p:cNvPr>
          <p:cNvCxnSpPr>
            <a:cxnSpLocks/>
          </p:cNvCxnSpPr>
          <p:nvPr/>
        </p:nvCxnSpPr>
        <p:spPr>
          <a:xfrm flipV="1">
            <a:off x="13864617" y="4765161"/>
            <a:ext cx="442229" cy="648115"/>
          </a:xfrm>
          <a:prstGeom prst="straightConnector1">
            <a:avLst/>
          </a:prstGeom>
          <a:ln w="38100">
            <a:solidFill>
              <a:srgbClr val="1B9E7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33">
            <a:extLst>
              <a:ext uri="{FF2B5EF4-FFF2-40B4-BE49-F238E27FC236}">
                <a16:creationId xmlns:a16="http://schemas.microsoft.com/office/drawing/2014/main" id="{EDBF841F-81D0-9DBC-30E4-798A93A01C3D}"/>
              </a:ext>
            </a:extLst>
          </p:cNvPr>
          <p:cNvCxnSpPr>
            <a:cxnSpLocks/>
          </p:cNvCxnSpPr>
          <p:nvPr/>
        </p:nvCxnSpPr>
        <p:spPr>
          <a:xfrm flipV="1">
            <a:off x="13864617" y="5124729"/>
            <a:ext cx="1160929" cy="288547"/>
          </a:xfrm>
          <a:prstGeom prst="straightConnector1">
            <a:avLst/>
          </a:prstGeom>
          <a:ln w="38100">
            <a:solidFill>
              <a:srgbClr val="D95F0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7" name="Textfeld 46">
            <a:extLst>
              <a:ext uri="{FF2B5EF4-FFF2-40B4-BE49-F238E27FC236}">
                <a16:creationId xmlns:a16="http://schemas.microsoft.com/office/drawing/2014/main" id="{6FD9B889-29E2-859D-C0FD-60B31657D5E7}"/>
              </a:ext>
            </a:extLst>
          </p:cNvPr>
          <p:cNvSpPr txBox="1"/>
          <p:nvPr/>
        </p:nvSpPr>
        <p:spPr>
          <a:xfrm>
            <a:off x="14275980" y="4543321"/>
            <a:ext cx="798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>
                <a:latin typeface="Cambria" panose="02040503050406030204" pitchFamily="18" charset="0"/>
                <a:ea typeface="Cambria" panose="02040503050406030204" pitchFamily="18" charset="0"/>
              </a:rPr>
              <a:t>Affective </a:t>
            </a:r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words</a:t>
            </a:r>
            <a:endParaRPr lang="en-US" sz="800" b="1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29" name="Textfeld 46">
            <a:extLst>
              <a:ext uri="{FF2B5EF4-FFF2-40B4-BE49-F238E27FC236}">
                <a16:creationId xmlns:a16="http://schemas.microsoft.com/office/drawing/2014/main" id="{0C270631-36AE-AF35-3053-691795AF9D3E}"/>
              </a:ext>
            </a:extLst>
          </p:cNvPr>
          <p:cNvSpPr txBox="1"/>
          <p:nvPr/>
        </p:nvSpPr>
        <p:spPr>
          <a:xfrm>
            <a:off x="14995060" y="5048126"/>
            <a:ext cx="858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>
                <a:latin typeface="Cambria" panose="02040503050406030204" pitchFamily="18" charset="0"/>
                <a:ea typeface="Cambria" panose="02040503050406030204" pitchFamily="18" charset="0"/>
              </a:rPr>
              <a:t>Cognitive </a:t>
            </a:r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words</a:t>
            </a:r>
            <a:endParaRPr lang="en-US" sz="800" b="1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1031" name="Gerade Verbindung mit Pfeil 33">
            <a:extLst>
              <a:ext uri="{FF2B5EF4-FFF2-40B4-BE49-F238E27FC236}">
                <a16:creationId xmlns:a16="http://schemas.microsoft.com/office/drawing/2014/main" id="{8B57FF7F-961B-D406-5016-B541BA7B6FF8}"/>
              </a:ext>
            </a:extLst>
          </p:cNvPr>
          <p:cNvCxnSpPr>
            <a:cxnSpLocks/>
            <a:endCxn id="1033" idx="2"/>
          </p:cNvCxnSpPr>
          <p:nvPr/>
        </p:nvCxnSpPr>
        <p:spPr>
          <a:xfrm flipH="1" flipV="1">
            <a:off x="13600644" y="4754654"/>
            <a:ext cx="263973" cy="658622"/>
          </a:xfrm>
          <a:prstGeom prst="straightConnector1">
            <a:avLst/>
          </a:prstGeom>
          <a:ln w="38100">
            <a:solidFill>
              <a:srgbClr val="23439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3" name="Textfeld 46">
            <a:extLst>
              <a:ext uri="{FF2B5EF4-FFF2-40B4-BE49-F238E27FC236}">
                <a16:creationId xmlns:a16="http://schemas.microsoft.com/office/drawing/2014/main" id="{0460A50D-9D9C-8D0A-341A-1AFBF5DD131F}"/>
              </a:ext>
            </a:extLst>
          </p:cNvPr>
          <p:cNvSpPr txBox="1"/>
          <p:nvPr/>
        </p:nvSpPr>
        <p:spPr>
          <a:xfrm>
            <a:off x="13201198" y="4416100"/>
            <a:ext cx="798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>
                <a:latin typeface="Cambria" panose="02040503050406030204" pitchFamily="18" charset="0"/>
                <a:ea typeface="Cambria" panose="02040503050406030204" pitchFamily="18" charset="0"/>
              </a:rPr>
              <a:t>Speech</a:t>
            </a:r>
            <a:br>
              <a:rPr lang="en-US" sz="800" b="1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embedding</a:t>
            </a:r>
          </a:p>
        </p:txBody>
      </p:sp>
      <p:pic>
        <p:nvPicPr>
          <p:cNvPr id="1046" name="Picture 1045">
            <a:extLst>
              <a:ext uri="{FF2B5EF4-FFF2-40B4-BE49-F238E27FC236}">
                <a16:creationId xmlns:a16="http://schemas.microsoft.com/office/drawing/2014/main" id="{5A2DE41A-00B5-6CED-F432-46A9E4D53D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667396" y="3221943"/>
            <a:ext cx="3370047" cy="1621677"/>
          </a:xfrm>
          <a:prstGeom prst="rect">
            <a:avLst/>
          </a:prstGeom>
        </p:spPr>
      </p:pic>
      <p:sp>
        <p:nvSpPr>
          <p:cNvPr id="1048" name="Textfeld 46">
            <a:extLst>
              <a:ext uri="{FF2B5EF4-FFF2-40B4-BE49-F238E27FC236}">
                <a16:creationId xmlns:a16="http://schemas.microsoft.com/office/drawing/2014/main" id="{29468A30-CEE7-A66B-A879-F9F5ACF105D1}"/>
              </a:ext>
            </a:extLst>
          </p:cNvPr>
          <p:cNvSpPr txBox="1"/>
          <p:nvPr/>
        </p:nvSpPr>
        <p:spPr>
          <a:xfrm>
            <a:off x="8455211" y="4948931"/>
            <a:ext cx="14344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Cognition Score:</a:t>
            </a:r>
          </a:p>
        </p:txBody>
      </p:sp>
      <p:sp>
        <p:nvSpPr>
          <p:cNvPr id="1051" name="Textfeld 46">
            <a:extLst>
              <a:ext uri="{FF2B5EF4-FFF2-40B4-BE49-F238E27FC236}">
                <a16:creationId xmlns:a16="http://schemas.microsoft.com/office/drawing/2014/main" id="{4F2D42CB-CBD7-2C32-4F8D-B78E4ACD76F2}"/>
              </a:ext>
            </a:extLst>
          </p:cNvPr>
          <p:cNvSpPr txBox="1"/>
          <p:nvPr/>
        </p:nvSpPr>
        <p:spPr>
          <a:xfrm>
            <a:off x="8713659" y="5364265"/>
            <a:ext cx="14344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Affect Score:</a:t>
            </a:r>
          </a:p>
        </p:txBody>
      </p:sp>
      <p:sp>
        <p:nvSpPr>
          <p:cNvPr id="1052" name="Textfeld 46">
            <a:extLst>
              <a:ext uri="{FF2B5EF4-FFF2-40B4-BE49-F238E27FC236}">
                <a16:creationId xmlns:a16="http://schemas.microsoft.com/office/drawing/2014/main" id="{81EA7851-4D1E-1E59-5798-00B91B68FDC3}"/>
              </a:ext>
            </a:extLst>
          </p:cNvPr>
          <p:cNvSpPr txBox="1"/>
          <p:nvPr/>
        </p:nvSpPr>
        <p:spPr>
          <a:xfrm>
            <a:off x="8533921" y="5798649"/>
            <a:ext cx="14344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Emotion Score:</a:t>
            </a:r>
          </a:p>
        </p:txBody>
      </p:sp>
      <p:pic>
        <p:nvPicPr>
          <p:cNvPr id="1054" name="Picture 1053">
            <a:extLst>
              <a:ext uri="{FF2B5EF4-FFF2-40B4-BE49-F238E27FC236}">
                <a16:creationId xmlns:a16="http://schemas.microsoft.com/office/drawing/2014/main" id="{98EF6E25-42ED-BA27-AE5D-A4A58B80769F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11" r="645"/>
          <a:stretch/>
        </p:blipFill>
        <p:spPr>
          <a:xfrm>
            <a:off x="9843763" y="5703098"/>
            <a:ext cx="1128116" cy="493957"/>
          </a:xfrm>
          <a:prstGeom prst="rect">
            <a:avLst/>
          </a:prstGeom>
        </p:spPr>
      </p:pic>
      <p:pic>
        <p:nvPicPr>
          <p:cNvPr id="1056" name="Picture 1055">
            <a:extLst>
              <a:ext uri="{FF2B5EF4-FFF2-40B4-BE49-F238E27FC236}">
                <a16:creationId xmlns:a16="http://schemas.microsoft.com/office/drawing/2014/main" id="{BD606C81-529C-77FE-7182-FA5D6B6ACE1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01122" y="5318528"/>
            <a:ext cx="956885" cy="383529"/>
          </a:xfrm>
          <a:prstGeom prst="rect">
            <a:avLst/>
          </a:prstGeom>
        </p:spPr>
      </p:pic>
      <p:pic>
        <p:nvPicPr>
          <p:cNvPr id="1058" name="Picture 1057">
            <a:extLst>
              <a:ext uri="{FF2B5EF4-FFF2-40B4-BE49-F238E27FC236}">
                <a16:creationId xmlns:a16="http://schemas.microsoft.com/office/drawing/2014/main" id="{8707FC7E-68ED-8F0B-E903-DBE7DD292E1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815189" y="4939723"/>
            <a:ext cx="848271" cy="319479"/>
          </a:xfrm>
          <a:prstGeom prst="rect">
            <a:avLst/>
          </a:prstGeom>
        </p:spPr>
      </p:pic>
      <p:sp>
        <p:nvSpPr>
          <p:cNvPr id="1061" name="Textfeld 46">
            <a:extLst>
              <a:ext uri="{FF2B5EF4-FFF2-40B4-BE49-F238E27FC236}">
                <a16:creationId xmlns:a16="http://schemas.microsoft.com/office/drawing/2014/main" id="{8BD8D413-1CC3-716C-2164-F4B69631978B}"/>
              </a:ext>
            </a:extLst>
          </p:cNvPr>
          <p:cNvSpPr txBox="1"/>
          <p:nvPr/>
        </p:nvSpPr>
        <p:spPr>
          <a:xfrm>
            <a:off x="10990494" y="5835407"/>
            <a:ext cx="14344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with b = 1</a:t>
            </a:r>
          </a:p>
        </p:txBody>
      </p:sp>
      <p:sp>
        <p:nvSpPr>
          <p:cNvPr id="1062" name="TextBox 1061">
            <a:extLst>
              <a:ext uri="{FF2B5EF4-FFF2-40B4-BE49-F238E27FC236}">
                <a16:creationId xmlns:a16="http://schemas.microsoft.com/office/drawing/2014/main" id="{960B7374-7B32-90C7-9765-263F115CF927}"/>
              </a:ext>
            </a:extLst>
          </p:cNvPr>
          <p:cNvSpPr txBox="1"/>
          <p:nvPr/>
        </p:nvSpPr>
        <p:spPr>
          <a:xfrm>
            <a:off x="8368338" y="6064017"/>
            <a:ext cx="15650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(Gennaro et al. 2021)</a:t>
            </a:r>
            <a:endParaRPr lang="en-DE" sz="1050">
              <a:solidFill>
                <a:schemeClr val="bg1">
                  <a:lumMod val="50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6482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4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8ED8D58A-DFE5-3025-A058-ECB0CB65B3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965" y="1498912"/>
            <a:ext cx="8161514" cy="5040000"/>
          </a:xfrm>
          <a:prstGeom prst="rect">
            <a:avLst/>
          </a:prstGeom>
        </p:spPr>
      </p:pic>
      <p:sp>
        <p:nvSpPr>
          <p:cNvPr id="6" name="Textfeld 74">
            <a:extLst>
              <a:ext uri="{FF2B5EF4-FFF2-40B4-BE49-F238E27FC236}">
                <a16:creationId xmlns:a16="http://schemas.microsoft.com/office/drawing/2014/main" id="{7E300D45-CC37-34EE-FE08-331A2CAF9FF5}"/>
              </a:ext>
            </a:extLst>
          </p:cNvPr>
          <p:cNvSpPr txBox="1"/>
          <p:nvPr/>
        </p:nvSpPr>
        <p:spPr>
          <a:xfrm>
            <a:off x="7808278" y="2520160"/>
            <a:ext cx="33597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Increase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 in average emotionality scores of speeches of EU Commission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00D59F-83F3-4014-A7B2-02749A9AFEC8}"/>
              </a:ext>
            </a:extLst>
          </p:cNvPr>
          <p:cNvSpPr txBox="1"/>
          <p:nvPr/>
        </p:nvSpPr>
        <p:spPr>
          <a:xfrm>
            <a:off x="4078889" y="2339811"/>
            <a:ext cx="1353398" cy="461665"/>
          </a:xfrm>
          <a:prstGeom prst="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Structural break</a:t>
            </a:r>
          </a:p>
          <a:p>
            <a:pPr algn="ctr"/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in 2019</a:t>
            </a:r>
          </a:p>
        </p:txBody>
      </p:sp>
      <p:sp>
        <p:nvSpPr>
          <p:cNvPr id="9" name="Textfeld 74">
            <a:extLst>
              <a:ext uri="{FF2B5EF4-FFF2-40B4-BE49-F238E27FC236}">
                <a16:creationId xmlns:a16="http://schemas.microsoft.com/office/drawing/2014/main" id="{7FC8AC36-806B-5158-BD24-B73B063D6490}"/>
              </a:ext>
            </a:extLst>
          </p:cNvPr>
          <p:cNvSpPr txBox="1"/>
          <p:nvPr/>
        </p:nvSpPr>
        <p:spPr>
          <a:xfrm>
            <a:off x="6414787" y="1383758"/>
            <a:ext cx="3623065" cy="461665"/>
          </a:xfrm>
          <a:prstGeom prst="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European Parliament elected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Ursula von der Leyen President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of the next European Commission</a:t>
            </a:r>
          </a:p>
        </p:txBody>
      </p:sp>
      <p:cxnSp>
        <p:nvCxnSpPr>
          <p:cNvPr id="10" name="Gerade Verbindung mit Pfeil 10">
            <a:extLst>
              <a:ext uri="{FF2B5EF4-FFF2-40B4-BE49-F238E27FC236}">
                <a16:creationId xmlns:a16="http://schemas.microsoft.com/office/drawing/2014/main" id="{010A8F32-F5B9-BE4F-4E1A-F8C9EC1D9DD7}"/>
              </a:ext>
            </a:extLst>
          </p:cNvPr>
          <p:cNvCxnSpPr>
            <a:cxnSpLocks/>
            <a:stCxn id="8" idx="0"/>
            <a:endCxn id="9" idx="1"/>
          </p:cNvCxnSpPr>
          <p:nvPr/>
        </p:nvCxnSpPr>
        <p:spPr>
          <a:xfrm flipV="1">
            <a:off x="4755588" y="1614591"/>
            <a:ext cx="1659199" cy="725220"/>
          </a:xfrm>
          <a:prstGeom prst="straightConnector1">
            <a:avLst/>
          </a:prstGeom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50CA48D-E99E-5B5D-9BE4-EDB3633E02D7}"/>
              </a:ext>
            </a:extLst>
          </p:cNvPr>
          <p:cNvCxnSpPr>
            <a:cxnSpLocks/>
          </p:cNvCxnSpPr>
          <p:nvPr/>
        </p:nvCxnSpPr>
        <p:spPr>
          <a:xfrm>
            <a:off x="7564936" y="2750993"/>
            <a:ext cx="24334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10">
            <a:extLst>
              <a:ext uri="{FF2B5EF4-FFF2-40B4-BE49-F238E27FC236}">
                <a16:creationId xmlns:a16="http://schemas.microsoft.com/office/drawing/2014/main" id="{C227994B-3BD1-33CC-C534-669C8AF93580}"/>
              </a:ext>
            </a:extLst>
          </p:cNvPr>
          <p:cNvCxnSpPr>
            <a:cxnSpLocks/>
          </p:cNvCxnSpPr>
          <p:nvPr/>
        </p:nvCxnSpPr>
        <p:spPr>
          <a:xfrm>
            <a:off x="7578743" y="3327812"/>
            <a:ext cx="24334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74">
            <a:extLst>
              <a:ext uri="{FF2B5EF4-FFF2-40B4-BE49-F238E27FC236}">
                <a16:creationId xmlns:a16="http://schemas.microsoft.com/office/drawing/2014/main" id="{4A2947A2-B7D6-655B-EAE6-DFC11465FA83}"/>
              </a:ext>
            </a:extLst>
          </p:cNvPr>
          <p:cNvSpPr txBox="1"/>
          <p:nvPr/>
        </p:nvSpPr>
        <p:spPr>
          <a:xfrm>
            <a:off x="7808278" y="4490416"/>
            <a:ext cx="39786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Cambria" panose="02040503050406030204" pitchFamily="18" charset="0"/>
                <a:ea typeface="Cambria" panose="02040503050406030204" pitchFamily="18" charset="0"/>
              </a:rPr>
              <a:t>Highly emotive speeches 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are associated to </a:t>
            </a:r>
            <a:r>
              <a:rPr lang="en-US" sz="1200" b="1" dirty="0">
                <a:latin typeface="Cambria" panose="02040503050406030204" pitchFamily="18" charset="0"/>
                <a:ea typeface="Cambria" panose="02040503050406030204" pitchFamily="18" charset="0"/>
              </a:rPr>
              <a:t>major crisis 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events like</a:t>
            </a:r>
            <a:r>
              <a:rPr lang="en-US" sz="1200" b="1" dirty="0">
                <a:latin typeface="Cambria" panose="02040503050406030204" pitchFamily="18" charset="0"/>
                <a:ea typeface="Cambria" panose="02040503050406030204" pitchFamily="18" charset="0"/>
              </a:rPr>
              <a:t> COVID-19 outbreak 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and</a:t>
            </a:r>
            <a:r>
              <a:rPr lang="en-US" sz="1200" b="1" dirty="0">
                <a:latin typeface="Cambria" panose="02040503050406030204" pitchFamily="18" charset="0"/>
                <a:ea typeface="Cambria" panose="02040503050406030204" pitchFamily="18" charset="0"/>
              </a:rPr>
              <a:t> Ukraine war</a:t>
            </a:r>
          </a:p>
        </p:txBody>
      </p:sp>
      <p:cxnSp>
        <p:nvCxnSpPr>
          <p:cNvPr id="24" name="Gerade Verbindung mit Pfeil 10">
            <a:extLst>
              <a:ext uri="{FF2B5EF4-FFF2-40B4-BE49-F238E27FC236}">
                <a16:creationId xmlns:a16="http://schemas.microsoft.com/office/drawing/2014/main" id="{EED7590E-3C2C-44DD-4495-FF0B2FD948C0}"/>
              </a:ext>
            </a:extLst>
          </p:cNvPr>
          <p:cNvCxnSpPr>
            <a:cxnSpLocks/>
          </p:cNvCxnSpPr>
          <p:nvPr/>
        </p:nvCxnSpPr>
        <p:spPr>
          <a:xfrm>
            <a:off x="7564936" y="4702530"/>
            <a:ext cx="24334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74">
            <a:extLst>
              <a:ext uri="{FF2B5EF4-FFF2-40B4-BE49-F238E27FC236}">
                <a16:creationId xmlns:a16="http://schemas.microsoft.com/office/drawing/2014/main" id="{2A55CE9A-D6AF-5A68-DED9-03AF4613452B}"/>
              </a:ext>
            </a:extLst>
          </p:cNvPr>
          <p:cNvSpPr txBox="1"/>
          <p:nvPr/>
        </p:nvSpPr>
        <p:spPr>
          <a:xfrm>
            <a:off x="7808278" y="3096979"/>
            <a:ext cx="39786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Commissioner speeches use </a:t>
            </a:r>
            <a:r>
              <a:rPr lang="en-US" sz="1200" b="1" dirty="0">
                <a:latin typeface="Cambria" panose="02040503050406030204" pitchFamily="18" charset="0"/>
                <a:ea typeface="Cambria" panose="02040503050406030204" pitchFamily="18" charset="0"/>
              </a:rPr>
              <a:t>more cognitive than affective language</a:t>
            </a:r>
            <a:endParaRPr lang="en-US" sz="12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6" name="Rechteck 4">
            <a:extLst>
              <a:ext uri="{FF2B5EF4-FFF2-40B4-BE49-F238E27FC236}">
                <a16:creationId xmlns:a16="http://schemas.microsoft.com/office/drawing/2014/main" id="{60CABC3D-59FD-FED8-3242-AE18BED2849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737664" y="5352836"/>
            <a:ext cx="3782713" cy="724409"/>
          </a:xfrm>
          <a:prstGeom prst="rect">
            <a:avLst/>
          </a:prstGeom>
          <a:solidFill>
            <a:srgbClr val="FFFFFF">
              <a:lumMod val="100000"/>
            </a:srgbClr>
          </a:solidFill>
          <a:ln w="12700" cmpd="sng">
            <a:solidFill>
              <a:srgbClr val="BA002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67500" tIns="13500" rIns="67500" bIns="13500" anchor="ctr" anchorCtr="0">
            <a:noAutofit/>
          </a:bodyPr>
          <a:lstStyle/>
          <a:p>
            <a:r>
              <a:rPr lang="en-GB" sz="1200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o </a:t>
            </a:r>
            <a:r>
              <a:rPr lang="en-GB" sz="1200" b="1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ummarize RQ1, we found supporting evidence </a:t>
            </a:r>
            <a:r>
              <a:rPr lang="en-GB" sz="1200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howing an increase in emotionality when </a:t>
            </a:r>
            <a:r>
              <a:rPr lang="en-GB" sz="1200" err="1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.d.</a:t>
            </a:r>
            <a:r>
              <a:rPr lang="en-GB" sz="1200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Leyen took over and EU commissioners’ speeches use highly emotive language during major crisis events.</a:t>
            </a:r>
            <a:endParaRPr lang="en-US" sz="1200">
              <a:solidFill>
                <a:srgbClr val="000000">
                  <a:lumMod val="10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6FD04B-5ACA-E113-C335-4151460C5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10153389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/>
              <a:t>RQ1</a:t>
            </a:r>
            <a:r>
              <a:rPr lang="en-GB" sz="3600"/>
              <a:t> – </a:t>
            </a:r>
            <a:r>
              <a:rPr lang="en-US" sz="3600"/>
              <a:t>How does emotion in language vary across time and events?</a:t>
            </a:r>
          </a:p>
        </p:txBody>
      </p:sp>
    </p:spTree>
    <p:extLst>
      <p:ext uri="{BB962C8B-B14F-4D97-AF65-F5344CB8AC3E}">
        <p14:creationId xmlns:p14="http://schemas.microsoft.com/office/powerpoint/2010/main" val="3814695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10153389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/>
              <a:t>RQ2</a:t>
            </a:r>
            <a:r>
              <a:rPr lang="en-GB" sz="3600"/>
              <a:t> – </a:t>
            </a:r>
            <a:r>
              <a:rPr lang="en-US" sz="3600"/>
              <a:t>How does emotion in language vary across political topic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5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8BF5FFBC-CDB0-5892-096F-038DB8DA9B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51" y="1487933"/>
            <a:ext cx="7869105" cy="45903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37B1A97-BC45-299C-7ECF-8CF5B435AC11}"/>
              </a:ext>
            </a:extLst>
          </p:cNvPr>
          <p:cNvSpPr txBox="1"/>
          <p:nvPr/>
        </p:nvSpPr>
        <p:spPr>
          <a:xfrm>
            <a:off x="1867463" y="1935395"/>
            <a:ext cx="2546595" cy="83099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marL="0" lvl="1" indent="0">
              <a:buNone/>
            </a:pPr>
            <a:r>
              <a:rPr lang="en-US" sz="1200">
                <a:solidFill>
                  <a:srgbClr val="23439A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ost emotionally charged speeches reference </a:t>
            </a:r>
            <a:r>
              <a:rPr lang="en-US" sz="1200" b="1">
                <a:solidFill>
                  <a:srgbClr val="23439A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U history, values, and key events</a:t>
            </a:r>
            <a:r>
              <a:rPr lang="en-US" sz="1200">
                <a:solidFill>
                  <a:srgbClr val="23439A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that shaped the region (e.g. Ukraine war, refugee crisis)</a:t>
            </a:r>
          </a:p>
        </p:txBody>
      </p:sp>
      <p:cxnSp>
        <p:nvCxnSpPr>
          <p:cNvPr id="7" name="Gerade Verbindung mit Pfeil 33">
            <a:extLst>
              <a:ext uri="{FF2B5EF4-FFF2-40B4-BE49-F238E27FC236}">
                <a16:creationId xmlns:a16="http://schemas.microsoft.com/office/drawing/2014/main" id="{FD4BB7D4-5EB0-1513-E25C-26F0862FB7C5}"/>
              </a:ext>
            </a:extLst>
          </p:cNvPr>
          <p:cNvCxnSpPr>
            <a:cxnSpLocks/>
          </p:cNvCxnSpPr>
          <p:nvPr/>
        </p:nvCxnSpPr>
        <p:spPr>
          <a:xfrm>
            <a:off x="4414058" y="2072064"/>
            <a:ext cx="230420" cy="0"/>
          </a:xfrm>
          <a:prstGeom prst="straightConnector1">
            <a:avLst/>
          </a:prstGeom>
          <a:ln w="38100">
            <a:solidFill>
              <a:srgbClr val="23439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42971D6-1DA3-87FA-189B-A4278D8956F1}"/>
              </a:ext>
            </a:extLst>
          </p:cNvPr>
          <p:cNvSpPr txBox="1"/>
          <p:nvPr/>
        </p:nvSpPr>
        <p:spPr>
          <a:xfrm>
            <a:off x="5044883" y="4422108"/>
            <a:ext cx="2737273" cy="83099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2pPr marL="0" lvl="1" indent="0">
              <a:buNone/>
              <a:defRPr sz="1200">
                <a:solidFill>
                  <a:srgbClr val="23439A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2pPr>
          </a:lstStyle>
          <a:p>
            <a:pPr lvl="1"/>
            <a:r>
              <a:rPr lang="en-US">
                <a:solidFill>
                  <a:srgbClr val="C00000"/>
                </a:solidFill>
              </a:rPr>
              <a:t>Speeches about </a:t>
            </a:r>
            <a:r>
              <a:rPr lang="en-US" b="1">
                <a:solidFill>
                  <a:srgbClr val="C00000"/>
                </a:solidFill>
              </a:rPr>
              <a:t>economic growth, fiscal reforms, and investments </a:t>
            </a:r>
            <a:r>
              <a:rPr lang="en-US">
                <a:solidFill>
                  <a:srgbClr val="C00000"/>
                </a:solidFill>
              </a:rPr>
              <a:t>use more cognitive language and are the least emotionally charged.</a:t>
            </a:r>
          </a:p>
        </p:txBody>
      </p:sp>
      <p:cxnSp>
        <p:nvCxnSpPr>
          <p:cNvPr id="10" name="Gerade Verbindung mit Pfeil 33">
            <a:extLst>
              <a:ext uri="{FF2B5EF4-FFF2-40B4-BE49-F238E27FC236}">
                <a16:creationId xmlns:a16="http://schemas.microsoft.com/office/drawing/2014/main" id="{63030AA1-CACF-4E1B-FE3A-DEABA46ED72D}"/>
              </a:ext>
            </a:extLst>
          </p:cNvPr>
          <p:cNvCxnSpPr>
            <a:cxnSpLocks/>
          </p:cNvCxnSpPr>
          <p:nvPr/>
        </p:nvCxnSpPr>
        <p:spPr>
          <a:xfrm flipH="1">
            <a:off x="4793537" y="5133476"/>
            <a:ext cx="216621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28">
            <a:extLst>
              <a:ext uri="{FF2B5EF4-FFF2-40B4-BE49-F238E27FC236}">
                <a16:creationId xmlns:a16="http://schemas.microsoft.com/office/drawing/2014/main" id="{E576E994-5660-6355-D63A-6B43255BF8F6}"/>
              </a:ext>
            </a:extLst>
          </p:cNvPr>
          <p:cNvSpPr txBox="1"/>
          <p:nvPr/>
        </p:nvSpPr>
        <p:spPr>
          <a:xfrm>
            <a:off x="9096010" y="1911359"/>
            <a:ext cx="20588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Deriving main topics </a:t>
            </a:r>
          </a:p>
        </p:txBody>
      </p:sp>
      <p:sp>
        <p:nvSpPr>
          <p:cNvPr id="19" name="Textfeld 74">
            <a:extLst>
              <a:ext uri="{FF2B5EF4-FFF2-40B4-BE49-F238E27FC236}">
                <a16:creationId xmlns:a16="http://schemas.microsoft.com/office/drawing/2014/main" id="{6CF2A319-A6EC-A440-10C6-97CBED7845C7}"/>
              </a:ext>
            </a:extLst>
          </p:cNvPr>
          <p:cNvSpPr txBox="1"/>
          <p:nvPr/>
        </p:nvSpPr>
        <p:spPr>
          <a:xfrm>
            <a:off x="8160403" y="2255903"/>
            <a:ext cx="365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12 topics are derived from STM. Each speech is assigned to a main keyword based on the highest document-topic and topic-term probabilities.</a:t>
            </a:r>
          </a:p>
        </p:txBody>
      </p:sp>
      <p:sp>
        <p:nvSpPr>
          <p:cNvPr id="21" name="TextBox 28">
            <a:extLst>
              <a:ext uri="{FF2B5EF4-FFF2-40B4-BE49-F238E27FC236}">
                <a16:creationId xmlns:a16="http://schemas.microsoft.com/office/drawing/2014/main" id="{3FEFD1F7-1B5F-EBE4-A329-1DF5E0778CE4}"/>
              </a:ext>
            </a:extLst>
          </p:cNvPr>
          <p:cNvSpPr txBox="1"/>
          <p:nvPr/>
        </p:nvSpPr>
        <p:spPr>
          <a:xfrm>
            <a:off x="8554396" y="3284324"/>
            <a:ext cx="32948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Comparing emotionality across topics </a:t>
            </a:r>
          </a:p>
        </p:txBody>
      </p:sp>
      <p:cxnSp>
        <p:nvCxnSpPr>
          <p:cNvPr id="22" name="Gerade Verbindung 13">
            <a:extLst>
              <a:ext uri="{FF2B5EF4-FFF2-40B4-BE49-F238E27FC236}">
                <a16:creationId xmlns:a16="http://schemas.microsoft.com/office/drawing/2014/main" id="{8A6E06F0-0D2F-FD60-F8D1-C8CE94BBB1B6}"/>
              </a:ext>
            </a:extLst>
          </p:cNvPr>
          <p:cNvCxnSpPr>
            <a:cxnSpLocks/>
          </p:cNvCxnSpPr>
          <p:nvPr/>
        </p:nvCxnSpPr>
        <p:spPr>
          <a:xfrm>
            <a:off x="8322197" y="3574734"/>
            <a:ext cx="3148314" cy="0"/>
          </a:xfrm>
          <a:prstGeom prst="line">
            <a:avLst/>
          </a:prstGeom>
          <a:ln w="19050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3">
            <a:extLst>
              <a:ext uri="{FF2B5EF4-FFF2-40B4-BE49-F238E27FC236}">
                <a16:creationId xmlns:a16="http://schemas.microsoft.com/office/drawing/2014/main" id="{155A61DE-6362-E727-E86B-C027F232C167}"/>
              </a:ext>
            </a:extLst>
          </p:cNvPr>
          <p:cNvCxnSpPr>
            <a:cxnSpLocks/>
          </p:cNvCxnSpPr>
          <p:nvPr/>
        </p:nvCxnSpPr>
        <p:spPr>
          <a:xfrm>
            <a:off x="8322197" y="2188358"/>
            <a:ext cx="3148314" cy="0"/>
          </a:xfrm>
          <a:prstGeom prst="line">
            <a:avLst/>
          </a:prstGeom>
          <a:ln w="19050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74">
            <a:extLst>
              <a:ext uri="{FF2B5EF4-FFF2-40B4-BE49-F238E27FC236}">
                <a16:creationId xmlns:a16="http://schemas.microsoft.com/office/drawing/2014/main" id="{65C630C5-77B4-19CB-0D8C-D4F561D89401}"/>
              </a:ext>
            </a:extLst>
          </p:cNvPr>
          <p:cNvSpPr txBox="1"/>
          <p:nvPr/>
        </p:nvSpPr>
        <p:spPr>
          <a:xfrm>
            <a:off x="8191605" y="3629388"/>
            <a:ext cx="36576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Emotionality by topic is calculated by averaging scores over all speeches that fall into the 12 categories. To capture topic-level variation, emotion scores are time demeaned.</a:t>
            </a:r>
          </a:p>
          <a:p>
            <a:endParaRPr lang="en-US" sz="12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Results reveal a clear variation in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emotional expression by political topic. </a:t>
            </a:r>
          </a:p>
        </p:txBody>
      </p:sp>
    </p:spTree>
    <p:extLst>
      <p:ext uri="{BB962C8B-B14F-4D97-AF65-F5344CB8AC3E}">
        <p14:creationId xmlns:p14="http://schemas.microsoft.com/office/powerpoint/2010/main" val="32880152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10153389" cy="1325563"/>
          </a:xfrm>
        </p:spPr>
        <p:txBody>
          <a:bodyPr>
            <a:normAutofit/>
          </a:bodyPr>
          <a:lstStyle/>
          <a:p>
            <a:r>
              <a:rPr lang="en-US" sz="3600"/>
              <a:t>RQ2</a:t>
            </a:r>
            <a:r>
              <a:rPr lang="en-GB" sz="3600" b="1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 – </a:t>
            </a:r>
            <a:r>
              <a:rPr lang="en-US" sz="3600"/>
              <a:t>How does language vary across political </a:t>
            </a:r>
            <a:br>
              <a:rPr lang="en-US" sz="3600"/>
            </a:br>
            <a:r>
              <a:rPr lang="en-US" sz="3600"/>
              <a:t>topic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6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sp>
        <p:nvSpPr>
          <p:cNvPr id="21" name="TextBox 28">
            <a:extLst>
              <a:ext uri="{FF2B5EF4-FFF2-40B4-BE49-F238E27FC236}">
                <a16:creationId xmlns:a16="http://schemas.microsoft.com/office/drawing/2014/main" id="{3FEFD1F7-1B5F-EBE4-A329-1DF5E0778CE4}"/>
              </a:ext>
            </a:extLst>
          </p:cNvPr>
          <p:cNvSpPr txBox="1"/>
          <p:nvPr/>
        </p:nvSpPr>
        <p:spPr>
          <a:xfrm>
            <a:off x="8651808" y="2154150"/>
            <a:ext cx="32948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Comparing emotionality across time </a:t>
            </a:r>
          </a:p>
        </p:txBody>
      </p:sp>
      <p:cxnSp>
        <p:nvCxnSpPr>
          <p:cNvPr id="22" name="Gerade Verbindung 13">
            <a:extLst>
              <a:ext uri="{FF2B5EF4-FFF2-40B4-BE49-F238E27FC236}">
                <a16:creationId xmlns:a16="http://schemas.microsoft.com/office/drawing/2014/main" id="{8A6E06F0-0D2F-FD60-F8D1-C8CE94BBB1B6}"/>
              </a:ext>
            </a:extLst>
          </p:cNvPr>
          <p:cNvCxnSpPr>
            <a:cxnSpLocks/>
          </p:cNvCxnSpPr>
          <p:nvPr/>
        </p:nvCxnSpPr>
        <p:spPr>
          <a:xfrm>
            <a:off x="8441920" y="2431149"/>
            <a:ext cx="3148314" cy="0"/>
          </a:xfrm>
          <a:prstGeom prst="line">
            <a:avLst/>
          </a:prstGeom>
          <a:ln w="19050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74">
            <a:extLst>
              <a:ext uri="{FF2B5EF4-FFF2-40B4-BE49-F238E27FC236}">
                <a16:creationId xmlns:a16="http://schemas.microsoft.com/office/drawing/2014/main" id="{65C630C5-77B4-19CB-0D8C-D4F561D89401}"/>
              </a:ext>
            </a:extLst>
          </p:cNvPr>
          <p:cNvSpPr txBox="1"/>
          <p:nvPr/>
        </p:nvSpPr>
        <p:spPr>
          <a:xfrm>
            <a:off x="8401493" y="2467716"/>
            <a:ext cx="345098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Emotionality by topic also varies across time. </a:t>
            </a:r>
          </a:p>
          <a:p>
            <a:endParaRPr lang="en-US" sz="12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Speeches about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digitalization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have become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 more emotionally charged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 between 2014 to 2022. </a:t>
            </a:r>
          </a:p>
          <a:p>
            <a:endParaRPr lang="en-US" sz="12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Speeches about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climate and energy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have become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less emotional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 – less affective words are used compared to cognitive words. 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E7EEEF-3029-22C3-4E89-E5B39C430B8A}"/>
              </a:ext>
            </a:extLst>
          </p:cNvPr>
          <p:cNvGrpSpPr/>
          <p:nvPr/>
        </p:nvGrpSpPr>
        <p:grpSpPr>
          <a:xfrm>
            <a:off x="427444" y="1487933"/>
            <a:ext cx="7869105" cy="4590311"/>
            <a:chOff x="524291" y="1487933"/>
            <a:chExt cx="7869105" cy="459031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BF5FFBC-CDB0-5892-096F-038DB8DA9B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24291" y="1487933"/>
              <a:ext cx="7869105" cy="4590311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EFA9566-9AB3-F6A7-5B42-6106CA1851DB}"/>
                </a:ext>
              </a:extLst>
            </p:cNvPr>
            <p:cNvSpPr/>
            <p:nvPr/>
          </p:nvSpPr>
          <p:spPr>
            <a:xfrm>
              <a:off x="2118169" y="2068531"/>
              <a:ext cx="5474826" cy="276999"/>
            </a:xfrm>
            <a:prstGeom prst="rect">
              <a:avLst/>
            </a:prstGeom>
            <a:solidFill>
              <a:schemeClr val="bg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0B22482-EC95-6C0E-CA97-CEC49D51AA06}"/>
                </a:ext>
              </a:extLst>
            </p:cNvPr>
            <p:cNvSpPr/>
            <p:nvPr/>
          </p:nvSpPr>
          <p:spPr>
            <a:xfrm>
              <a:off x="2118169" y="3958037"/>
              <a:ext cx="5474826" cy="276999"/>
            </a:xfrm>
            <a:prstGeom prst="rect">
              <a:avLst/>
            </a:prstGeom>
            <a:solidFill>
              <a:schemeClr val="bg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64669DD-9E0D-ECC8-D6B6-0C53E09C7B0E}"/>
                </a:ext>
              </a:extLst>
            </p:cNvPr>
            <p:cNvSpPr/>
            <p:nvPr/>
          </p:nvSpPr>
          <p:spPr>
            <a:xfrm>
              <a:off x="2118169" y="2537810"/>
              <a:ext cx="5474826" cy="276999"/>
            </a:xfrm>
            <a:prstGeom prst="rect">
              <a:avLst/>
            </a:prstGeom>
            <a:solidFill>
              <a:schemeClr val="bg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Rechteck 4">
            <a:extLst>
              <a:ext uri="{FF2B5EF4-FFF2-40B4-BE49-F238E27FC236}">
                <a16:creationId xmlns:a16="http://schemas.microsoft.com/office/drawing/2014/main" id="{3C4D9E31-7F41-2771-0C86-1AEA4CCCA2E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445187" y="4235036"/>
            <a:ext cx="3407290" cy="1049483"/>
          </a:xfrm>
          <a:prstGeom prst="rect">
            <a:avLst/>
          </a:prstGeom>
          <a:solidFill>
            <a:srgbClr val="FFFFFF">
              <a:lumMod val="100000"/>
            </a:srgbClr>
          </a:solidFill>
          <a:ln w="12700" cmpd="sng">
            <a:solidFill>
              <a:srgbClr val="BA002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67500" tIns="13500" rIns="67500" bIns="13500" anchor="ctr" anchorCtr="0">
            <a:noAutofit/>
          </a:bodyPr>
          <a:lstStyle/>
          <a:p>
            <a:r>
              <a:rPr lang="en-GB" sz="1200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For </a:t>
            </a:r>
            <a:r>
              <a:rPr lang="en-GB" sz="1200" b="1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 </a:t>
            </a:r>
            <a:r>
              <a:rPr lang="en-GB" sz="1200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we found that </a:t>
            </a:r>
            <a:r>
              <a:rPr lang="en-GB" sz="1200" b="1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motionality of speeches vary by political topics.</a:t>
            </a:r>
            <a:r>
              <a:rPr lang="en-GB" sz="1200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 In general, those that deal with more sensitive matters (e.g. conflicts, humanitarian crises) use more affective language. </a:t>
            </a:r>
            <a:endParaRPr lang="en-US" sz="1200">
              <a:solidFill>
                <a:srgbClr val="000000">
                  <a:lumMod val="10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767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58196-E9F6-4665-B7A5-739B36D9A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8195"/>
            <a:ext cx="9936271" cy="1325563"/>
          </a:xfrm>
        </p:spPr>
        <p:txBody>
          <a:bodyPr>
            <a:normAutofit/>
          </a:bodyPr>
          <a:lstStyle/>
          <a:p>
            <a:r>
              <a:rPr lang="en-US" sz="3600"/>
              <a:t>RQ3 </a:t>
            </a:r>
            <a:r>
              <a:rPr lang="en-GB" sz="3600" b="1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– </a:t>
            </a:r>
            <a:r>
              <a:rPr lang="en-US" sz="3600"/>
              <a:t>How does emotion and reason vary by gender and political ideology of commissioner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FC698D-9F32-D24B-16B8-6A3AA004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7</a:t>
            </a:fld>
            <a:endParaRPr lang="en-US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E9A5BEC-EF8E-8AFC-AF94-B1D987A8474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422722" y="1850100"/>
            <a:ext cx="2904759" cy="4058846"/>
          </a:xfrm>
          <a:prstGeom prst="rect">
            <a:avLst/>
          </a:prstGeom>
          <a:noFill/>
          <a:ln w="12700" cmpd="sng">
            <a:solidFill>
              <a:srgbClr val="141227"/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1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Does emotion in language respond to major crises affecting the EU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2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</a:t>
            </a:r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does language vary across political topics?</a:t>
            </a:r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1" indent="0">
              <a:buNone/>
            </a:pPr>
            <a:r>
              <a:rPr lang="en-US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Q3:</a:t>
            </a:r>
          </a:p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How does emotion and reason vary by gender and political ideology of commissioners?</a:t>
            </a:r>
          </a:p>
          <a:p>
            <a:endParaRPr lang="en-US" sz="2300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56" name="Picture 5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DA25EC07-23AB-65DD-8112-794DE4BC0B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6490" y="1287847"/>
            <a:ext cx="841248" cy="9712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2AABFD0-50B8-0B65-447E-7209714681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6973" y="2281872"/>
            <a:ext cx="6434576" cy="405540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A1BF13-A8F3-3255-BB19-BB5E9895376C}"/>
              </a:ext>
            </a:extLst>
          </p:cNvPr>
          <p:cNvSpPr txBox="1"/>
          <p:nvPr/>
        </p:nvSpPr>
        <p:spPr>
          <a:xfrm>
            <a:off x="741873" y="1622843"/>
            <a:ext cx="56303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mbria Math" panose="02040503050406030204" pitchFamily="18" charset="0"/>
                <a:ea typeface="Cambria Math" panose="02040503050406030204" pitchFamily="18" charset="0"/>
              </a:rPr>
              <a:t>Effect of Politicians’ Characteristics on Emotiona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8F9D3B-D217-F455-9A92-4279BD889733}"/>
              </a:ext>
            </a:extLst>
          </p:cNvPr>
          <p:cNvSpPr txBox="1"/>
          <p:nvPr/>
        </p:nvSpPr>
        <p:spPr>
          <a:xfrm>
            <a:off x="741873" y="1941432"/>
            <a:ext cx="8368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olumns show the std. coefficients of politicians’ characteristics on std. emotionality</a:t>
            </a:r>
          </a:p>
        </p:txBody>
      </p:sp>
      <p:sp>
        <p:nvSpPr>
          <p:cNvPr id="8" name="Textfeld 3">
            <a:extLst>
              <a:ext uri="{FF2B5EF4-FFF2-40B4-BE49-F238E27FC236}">
                <a16:creationId xmlns:a16="http://schemas.microsoft.com/office/drawing/2014/main" id="{FB423219-FA49-EED4-DC9A-8E6D0CC5A4A0}"/>
              </a:ext>
            </a:extLst>
          </p:cNvPr>
          <p:cNvSpPr txBox="1"/>
          <p:nvPr/>
        </p:nvSpPr>
        <p:spPr>
          <a:xfrm>
            <a:off x="7816593" y="2485475"/>
            <a:ext cx="3991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Strong evidence for a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negative effect of being a man on emotionality of language</a:t>
            </a:r>
            <a:endParaRPr lang="en-US" sz="1200" b="1">
              <a:solidFill>
                <a:schemeClr val="bg1">
                  <a:lumMod val="50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9" name="Gerade Verbindung mit Pfeil 10">
            <a:extLst>
              <a:ext uri="{FF2B5EF4-FFF2-40B4-BE49-F238E27FC236}">
                <a16:creationId xmlns:a16="http://schemas.microsoft.com/office/drawing/2014/main" id="{AD4C2572-E21F-3F08-B2F3-0303E23268F6}"/>
              </a:ext>
            </a:extLst>
          </p:cNvPr>
          <p:cNvCxnSpPr>
            <a:cxnSpLocks/>
          </p:cNvCxnSpPr>
          <p:nvPr/>
        </p:nvCxnSpPr>
        <p:spPr>
          <a:xfrm>
            <a:off x="7573251" y="2642661"/>
            <a:ext cx="243342" cy="0"/>
          </a:xfrm>
          <a:prstGeom prst="straightConnector1">
            <a:avLst/>
          </a:prstGeom>
          <a:ln w="28575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7551ABB4-FC26-1C9D-BB3F-C470FE4E0367}"/>
              </a:ext>
            </a:extLst>
          </p:cNvPr>
          <p:cNvSpPr/>
          <p:nvPr/>
        </p:nvSpPr>
        <p:spPr>
          <a:xfrm>
            <a:off x="2410096" y="2993641"/>
            <a:ext cx="1071155" cy="54966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3DF53-9C43-6A27-B151-498804B66554}"/>
              </a:ext>
            </a:extLst>
          </p:cNvPr>
          <p:cNvSpPr/>
          <p:nvPr/>
        </p:nvSpPr>
        <p:spPr>
          <a:xfrm>
            <a:off x="4053219" y="3505268"/>
            <a:ext cx="1071155" cy="54966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334372-D340-4AFA-AF43-37E1833B2908}"/>
              </a:ext>
            </a:extLst>
          </p:cNvPr>
          <p:cNvSpPr/>
          <p:nvPr/>
        </p:nvSpPr>
        <p:spPr>
          <a:xfrm>
            <a:off x="5739418" y="2993641"/>
            <a:ext cx="1071155" cy="106128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4" name="Textfeld 3">
            <a:extLst>
              <a:ext uri="{FF2B5EF4-FFF2-40B4-BE49-F238E27FC236}">
                <a16:creationId xmlns:a16="http://schemas.microsoft.com/office/drawing/2014/main" id="{B3CBF507-D32A-CCB6-82F8-6B85D252CCEB}"/>
              </a:ext>
            </a:extLst>
          </p:cNvPr>
          <p:cNvSpPr txBox="1"/>
          <p:nvPr/>
        </p:nvSpPr>
        <p:spPr>
          <a:xfrm>
            <a:off x="7816593" y="3198006"/>
            <a:ext cx="39910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Highly significant evidence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for commissioners with a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more right-leaning ideology to use more emotional language</a:t>
            </a:r>
          </a:p>
        </p:txBody>
      </p:sp>
      <p:cxnSp>
        <p:nvCxnSpPr>
          <p:cNvPr id="15" name="Gerade Verbindung mit Pfeil 10">
            <a:extLst>
              <a:ext uri="{FF2B5EF4-FFF2-40B4-BE49-F238E27FC236}">
                <a16:creationId xmlns:a16="http://schemas.microsoft.com/office/drawing/2014/main" id="{E55B1C27-E4D8-AB6B-64DD-FF26613B87E2}"/>
              </a:ext>
            </a:extLst>
          </p:cNvPr>
          <p:cNvCxnSpPr>
            <a:cxnSpLocks/>
          </p:cNvCxnSpPr>
          <p:nvPr/>
        </p:nvCxnSpPr>
        <p:spPr>
          <a:xfrm>
            <a:off x="7573251" y="3355192"/>
            <a:ext cx="243342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3">
            <a:extLst>
              <a:ext uri="{FF2B5EF4-FFF2-40B4-BE49-F238E27FC236}">
                <a16:creationId xmlns:a16="http://schemas.microsoft.com/office/drawing/2014/main" id="{A6383C72-CE1D-22AE-5743-6D72C007E399}"/>
              </a:ext>
            </a:extLst>
          </p:cNvPr>
          <p:cNvSpPr txBox="1"/>
          <p:nvPr/>
        </p:nvSpPr>
        <p:spPr>
          <a:xfrm>
            <a:off x="7816593" y="4059398"/>
            <a:ext cx="3991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Effects hold for the complete model with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almost identical p-value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indicating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very low collinearity</a:t>
            </a:r>
          </a:p>
        </p:txBody>
      </p:sp>
      <p:cxnSp>
        <p:nvCxnSpPr>
          <p:cNvPr id="17" name="Gerade Verbindung mit Pfeil 10">
            <a:extLst>
              <a:ext uri="{FF2B5EF4-FFF2-40B4-BE49-F238E27FC236}">
                <a16:creationId xmlns:a16="http://schemas.microsoft.com/office/drawing/2014/main" id="{A0F4EDB6-362C-7CC0-8221-7C12D24BC7D4}"/>
              </a:ext>
            </a:extLst>
          </p:cNvPr>
          <p:cNvCxnSpPr>
            <a:cxnSpLocks/>
          </p:cNvCxnSpPr>
          <p:nvPr/>
        </p:nvCxnSpPr>
        <p:spPr>
          <a:xfrm>
            <a:off x="7573251" y="4216584"/>
            <a:ext cx="243342" cy="0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4">
            <a:extLst>
              <a:ext uri="{FF2B5EF4-FFF2-40B4-BE49-F238E27FC236}">
                <a16:creationId xmlns:a16="http://schemas.microsoft.com/office/drawing/2014/main" id="{91E305C5-08B7-677A-854C-EB3C3FAA01F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737664" y="5355823"/>
            <a:ext cx="3782713" cy="632593"/>
          </a:xfrm>
          <a:prstGeom prst="rect">
            <a:avLst/>
          </a:prstGeom>
          <a:solidFill>
            <a:srgbClr val="FFFFFF">
              <a:lumMod val="100000"/>
            </a:srgbClr>
          </a:solidFill>
          <a:ln w="12700" cmpd="sng">
            <a:solidFill>
              <a:srgbClr val="BA002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67500" tIns="13500" rIns="67500" bIns="13500" anchor="ctr" anchorCtr="0">
            <a:noAutofit/>
          </a:bodyPr>
          <a:lstStyle/>
          <a:p>
            <a:r>
              <a:rPr lang="en-GB" sz="1200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 general, we found </a:t>
            </a:r>
            <a:r>
              <a:rPr lang="en-GB" sz="1200" b="1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ongly supporting evidence for RQ3 </a:t>
            </a:r>
            <a:r>
              <a:rPr lang="en-GB" sz="1200">
                <a:solidFill>
                  <a:srgbClr val="000000">
                    <a:lumMod val="10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nd EU commissioners’ characteristics seem to influence their use of emotionality in communication</a:t>
            </a:r>
            <a:endParaRPr lang="en-US" sz="1200">
              <a:solidFill>
                <a:srgbClr val="000000">
                  <a:lumMod val="10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9" name="Textfeld 3">
            <a:extLst>
              <a:ext uri="{FF2B5EF4-FFF2-40B4-BE49-F238E27FC236}">
                <a16:creationId xmlns:a16="http://schemas.microsoft.com/office/drawing/2014/main" id="{2512969D-DCFE-E655-116C-3D3E62A29FD0}"/>
              </a:ext>
            </a:extLst>
          </p:cNvPr>
          <p:cNvSpPr txBox="1"/>
          <p:nvPr/>
        </p:nvSpPr>
        <p:spPr>
          <a:xfrm>
            <a:off x="7816593" y="4699635"/>
            <a:ext cx="3991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Since we used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standardized coefficients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, we can also infer that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sex has a bigger effect than political ideology</a:t>
            </a:r>
          </a:p>
        </p:txBody>
      </p:sp>
      <p:cxnSp>
        <p:nvCxnSpPr>
          <p:cNvPr id="20" name="Gerade Verbindung mit Pfeil 10">
            <a:extLst>
              <a:ext uri="{FF2B5EF4-FFF2-40B4-BE49-F238E27FC236}">
                <a16:creationId xmlns:a16="http://schemas.microsoft.com/office/drawing/2014/main" id="{BFE03F37-D376-0F43-7F8E-BE59D7AD7EB7}"/>
              </a:ext>
            </a:extLst>
          </p:cNvPr>
          <p:cNvCxnSpPr>
            <a:cxnSpLocks/>
          </p:cNvCxnSpPr>
          <p:nvPr/>
        </p:nvCxnSpPr>
        <p:spPr>
          <a:xfrm>
            <a:off x="7573251" y="4856821"/>
            <a:ext cx="243342" cy="0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8194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/>
              <a:t>There is no free lunch </a:t>
            </a:r>
            <a:r>
              <a:rPr lang="en-GB" sz="3600" b="1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– </a:t>
            </a:r>
            <a:r>
              <a:rPr lang="en-GB" sz="3600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four limitations of our research design we identified and mitigated</a:t>
            </a:r>
            <a:endParaRPr lang="en-US" sz="36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8B92CB-4149-09DE-4FCB-B356F78AE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8</a:t>
            </a:fld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32E9BAF-BC26-843A-A61D-78D750A3FE61}"/>
              </a:ext>
            </a:extLst>
          </p:cNvPr>
          <p:cNvGrpSpPr/>
          <p:nvPr/>
        </p:nvGrpSpPr>
        <p:grpSpPr>
          <a:xfrm>
            <a:off x="13526460" y="1901419"/>
            <a:ext cx="3597570" cy="2382807"/>
            <a:chOff x="3904379" y="4564128"/>
            <a:chExt cx="3597570" cy="2382807"/>
          </a:xfrm>
        </p:grpSpPr>
        <p:pic>
          <p:nvPicPr>
            <p:cNvPr id="11" name="Picture 10" descr="A picture containing building, building material&#10;&#10;Description automatically generated">
              <a:extLst>
                <a:ext uri="{FF2B5EF4-FFF2-40B4-BE49-F238E27FC236}">
                  <a16:creationId xmlns:a16="http://schemas.microsoft.com/office/drawing/2014/main" id="{FFD81F8A-DC8F-2EE6-F3F0-CC43FF07A5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8279" y="4564128"/>
              <a:ext cx="1770149" cy="1827941"/>
            </a:xfrm>
            <a:prstGeom prst="rect">
              <a:avLst/>
            </a:prstGeom>
          </p:spPr>
        </p:pic>
        <p:sp>
          <p:nvSpPr>
            <p:cNvPr id="17" name="Left Brace 16">
              <a:extLst>
                <a:ext uri="{FF2B5EF4-FFF2-40B4-BE49-F238E27FC236}">
                  <a16:creationId xmlns:a16="http://schemas.microsoft.com/office/drawing/2014/main" id="{D7BD9843-5BEC-0DAB-2BB2-013DBDABCC33}"/>
                </a:ext>
              </a:extLst>
            </p:cNvPr>
            <p:cNvSpPr/>
            <p:nvPr/>
          </p:nvSpPr>
          <p:spPr>
            <a:xfrm>
              <a:off x="4921946" y="4770995"/>
              <a:ext cx="211500" cy="1191694"/>
            </a:xfrm>
            <a:prstGeom prst="leftBrace">
              <a:avLst>
                <a:gd name="adj1" fmla="val 25464"/>
                <a:gd name="adj2" fmla="val 48557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9" name="Left Brace 18">
              <a:extLst>
                <a:ext uri="{FF2B5EF4-FFF2-40B4-BE49-F238E27FC236}">
                  <a16:creationId xmlns:a16="http://schemas.microsoft.com/office/drawing/2014/main" id="{31A31F59-F83D-E425-30D2-D8564ECB1D66}"/>
                </a:ext>
              </a:extLst>
            </p:cNvPr>
            <p:cNvSpPr/>
            <p:nvPr/>
          </p:nvSpPr>
          <p:spPr>
            <a:xfrm rot="17635791">
              <a:off x="5561481" y="5875944"/>
              <a:ext cx="235285" cy="1090113"/>
            </a:xfrm>
            <a:prstGeom prst="leftBrace">
              <a:avLst>
                <a:gd name="adj1" fmla="val 25464"/>
                <a:gd name="adj2" fmla="val 48557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1" name="Left Brace 20">
              <a:extLst>
                <a:ext uri="{FF2B5EF4-FFF2-40B4-BE49-F238E27FC236}">
                  <a16:creationId xmlns:a16="http://schemas.microsoft.com/office/drawing/2014/main" id="{604680D1-3F3B-F16E-E14A-901208FDD18C}"/>
                </a:ext>
              </a:extLst>
            </p:cNvPr>
            <p:cNvSpPr/>
            <p:nvPr/>
          </p:nvSpPr>
          <p:spPr>
            <a:xfrm rot="13576226">
              <a:off x="6754741" y="5828628"/>
              <a:ext cx="235285" cy="835484"/>
            </a:xfrm>
            <a:prstGeom prst="leftBrace">
              <a:avLst>
                <a:gd name="adj1" fmla="val 25464"/>
                <a:gd name="adj2" fmla="val 48557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C09CAA7-4B22-0BF4-A560-2C8173BEDBB3}"/>
                </a:ext>
              </a:extLst>
            </p:cNvPr>
            <p:cNvSpPr txBox="1"/>
            <p:nvPr/>
          </p:nvSpPr>
          <p:spPr>
            <a:xfrm>
              <a:off x="3904379" y="5208761"/>
              <a:ext cx="15952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b="1">
                  <a:latin typeface="Cambria" panose="02040503050406030204" pitchFamily="18" charset="0"/>
                  <a:ea typeface="Cambria" panose="02040503050406030204" pitchFamily="18" charset="0"/>
                </a:rPr>
                <a:t>1792 speeches</a:t>
              </a:r>
              <a:endParaRPr lang="en-DE" sz="1000" b="1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77C8C7D-D94A-25F8-EADA-31A4463329C1}"/>
                </a:ext>
              </a:extLst>
            </p:cNvPr>
            <p:cNvSpPr txBox="1"/>
            <p:nvPr/>
          </p:nvSpPr>
          <p:spPr>
            <a:xfrm rot="1376883">
              <a:off x="4882075" y="6496068"/>
              <a:ext cx="14122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b="1">
                  <a:latin typeface="Cambria" panose="02040503050406030204" pitchFamily="18" charset="0"/>
                  <a:ea typeface="Cambria" panose="02040503050406030204" pitchFamily="18" charset="0"/>
                </a:rPr>
                <a:t>300 words padding</a:t>
              </a:r>
              <a:endParaRPr lang="en-DE" sz="1000" b="1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C1B6F5A-F9DE-A32F-77BE-FCE1CB41654E}"/>
                </a:ext>
              </a:extLst>
            </p:cNvPr>
            <p:cNvSpPr txBox="1"/>
            <p:nvPr/>
          </p:nvSpPr>
          <p:spPr>
            <a:xfrm rot="18799728">
              <a:off x="6595747" y="6040734"/>
              <a:ext cx="141229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b="1">
                  <a:latin typeface="Cambria" panose="02040503050406030204" pitchFamily="18" charset="0"/>
                  <a:ea typeface="Cambria" panose="02040503050406030204" pitchFamily="18" charset="0"/>
                </a:rPr>
                <a:t>300-dimensional embedding</a:t>
              </a:r>
              <a:endParaRPr lang="en-DE" sz="1000" b="1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cxnSp>
        <p:nvCxnSpPr>
          <p:cNvPr id="31" name="Gerade Verbindung mit Pfeil 33">
            <a:extLst>
              <a:ext uri="{FF2B5EF4-FFF2-40B4-BE49-F238E27FC236}">
                <a16:creationId xmlns:a16="http://schemas.microsoft.com/office/drawing/2014/main" id="{0158BFD6-06B3-626D-635C-B8F87BC7C313}"/>
              </a:ext>
            </a:extLst>
          </p:cNvPr>
          <p:cNvCxnSpPr>
            <a:cxnSpLocks/>
          </p:cNvCxnSpPr>
          <p:nvPr/>
        </p:nvCxnSpPr>
        <p:spPr>
          <a:xfrm>
            <a:off x="-4005489" y="1130272"/>
            <a:ext cx="39634" cy="0"/>
          </a:xfrm>
          <a:prstGeom prst="straightConnector1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 descr="Diagram&#10;&#10;Description automatically generated">
            <a:extLst>
              <a:ext uri="{FF2B5EF4-FFF2-40B4-BE49-F238E27FC236}">
                <a16:creationId xmlns:a16="http://schemas.microsoft.com/office/drawing/2014/main" id="{E4BF8613-0B23-6D23-BE2A-AFC9D93F60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0508" y="5315440"/>
            <a:ext cx="2860001" cy="1354945"/>
          </a:xfrm>
          <a:prstGeom prst="rect">
            <a:avLst/>
          </a:prstGeom>
        </p:spPr>
      </p:pic>
      <p:cxnSp>
        <p:nvCxnSpPr>
          <p:cNvPr id="60" name="Gerade Verbindung mit Pfeil 33">
            <a:extLst>
              <a:ext uri="{FF2B5EF4-FFF2-40B4-BE49-F238E27FC236}">
                <a16:creationId xmlns:a16="http://schemas.microsoft.com/office/drawing/2014/main" id="{75BEC58F-33A2-CE87-3FEB-6636D36BA469}"/>
              </a:ext>
            </a:extLst>
          </p:cNvPr>
          <p:cNvCxnSpPr>
            <a:cxnSpLocks/>
          </p:cNvCxnSpPr>
          <p:nvPr/>
        </p:nvCxnSpPr>
        <p:spPr>
          <a:xfrm flipV="1">
            <a:off x="15157645" y="5393809"/>
            <a:ext cx="442229" cy="648115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33">
            <a:extLst>
              <a:ext uri="{FF2B5EF4-FFF2-40B4-BE49-F238E27FC236}">
                <a16:creationId xmlns:a16="http://schemas.microsoft.com/office/drawing/2014/main" id="{EDBF841F-81D0-9DBC-30E4-798A93A01C3D}"/>
              </a:ext>
            </a:extLst>
          </p:cNvPr>
          <p:cNvCxnSpPr>
            <a:cxnSpLocks/>
          </p:cNvCxnSpPr>
          <p:nvPr/>
        </p:nvCxnSpPr>
        <p:spPr>
          <a:xfrm flipV="1">
            <a:off x="15157645" y="5753377"/>
            <a:ext cx="1160929" cy="288547"/>
          </a:xfrm>
          <a:prstGeom prst="straightConnector1">
            <a:avLst/>
          </a:prstGeom>
          <a:ln w="38100">
            <a:solidFill>
              <a:srgbClr val="23439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7" name="Textfeld 46">
            <a:extLst>
              <a:ext uri="{FF2B5EF4-FFF2-40B4-BE49-F238E27FC236}">
                <a16:creationId xmlns:a16="http://schemas.microsoft.com/office/drawing/2014/main" id="{6FD9B889-29E2-859D-C0FD-60B31657D5E7}"/>
              </a:ext>
            </a:extLst>
          </p:cNvPr>
          <p:cNvSpPr txBox="1"/>
          <p:nvPr/>
        </p:nvSpPr>
        <p:spPr>
          <a:xfrm>
            <a:off x="15569008" y="5171969"/>
            <a:ext cx="798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>
                <a:latin typeface="Cambria" panose="02040503050406030204" pitchFamily="18" charset="0"/>
                <a:ea typeface="Cambria" panose="02040503050406030204" pitchFamily="18" charset="0"/>
              </a:rPr>
              <a:t>Affective </a:t>
            </a:r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words</a:t>
            </a:r>
            <a:endParaRPr lang="en-US" sz="800" b="1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29" name="Textfeld 46">
            <a:extLst>
              <a:ext uri="{FF2B5EF4-FFF2-40B4-BE49-F238E27FC236}">
                <a16:creationId xmlns:a16="http://schemas.microsoft.com/office/drawing/2014/main" id="{0C270631-36AE-AF35-3053-691795AF9D3E}"/>
              </a:ext>
            </a:extLst>
          </p:cNvPr>
          <p:cNvSpPr txBox="1"/>
          <p:nvPr/>
        </p:nvSpPr>
        <p:spPr>
          <a:xfrm>
            <a:off x="16288088" y="5676774"/>
            <a:ext cx="858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>
                <a:latin typeface="Cambria" panose="02040503050406030204" pitchFamily="18" charset="0"/>
                <a:ea typeface="Cambria" panose="02040503050406030204" pitchFamily="18" charset="0"/>
              </a:rPr>
              <a:t>Cognitive </a:t>
            </a:r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words</a:t>
            </a:r>
            <a:endParaRPr lang="en-US" sz="800" b="1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1031" name="Gerade Verbindung mit Pfeil 33">
            <a:extLst>
              <a:ext uri="{FF2B5EF4-FFF2-40B4-BE49-F238E27FC236}">
                <a16:creationId xmlns:a16="http://schemas.microsoft.com/office/drawing/2014/main" id="{8B57FF7F-961B-D406-5016-B541BA7B6FF8}"/>
              </a:ext>
            </a:extLst>
          </p:cNvPr>
          <p:cNvCxnSpPr>
            <a:cxnSpLocks/>
            <a:endCxn id="1033" idx="2"/>
          </p:cNvCxnSpPr>
          <p:nvPr/>
        </p:nvCxnSpPr>
        <p:spPr>
          <a:xfrm flipH="1" flipV="1">
            <a:off x="14893672" y="5383302"/>
            <a:ext cx="263973" cy="6586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3" name="Textfeld 46">
            <a:extLst>
              <a:ext uri="{FF2B5EF4-FFF2-40B4-BE49-F238E27FC236}">
                <a16:creationId xmlns:a16="http://schemas.microsoft.com/office/drawing/2014/main" id="{0460A50D-9D9C-8D0A-341A-1AFBF5DD131F}"/>
              </a:ext>
            </a:extLst>
          </p:cNvPr>
          <p:cNvSpPr txBox="1"/>
          <p:nvPr/>
        </p:nvSpPr>
        <p:spPr>
          <a:xfrm>
            <a:off x="14494226" y="5044748"/>
            <a:ext cx="798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>
                <a:latin typeface="Cambria" panose="02040503050406030204" pitchFamily="18" charset="0"/>
                <a:ea typeface="Cambria" panose="02040503050406030204" pitchFamily="18" charset="0"/>
              </a:rPr>
              <a:t>Speech</a:t>
            </a:r>
            <a:br>
              <a:rPr lang="en-US" sz="800" b="1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embedding</a:t>
            </a:r>
          </a:p>
        </p:txBody>
      </p:sp>
      <p:sp>
        <p:nvSpPr>
          <p:cNvPr id="4" name="Textfeld 69">
            <a:extLst>
              <a:ext uri="{FF2B5EF4-FFF2-40B4-BE49-F238E27FC236}">
                <a16:creationId xmlns:a16="http://schemas.microsoft.com/office/drawing/2014/main" id="{5E01EAA4-9AB5-2D59-4A2B-2C7644A2D35D}"/>
              </a:ext>
            </a:extLst>
          </p:cNvPr>
          <p:cNvSpPr txBox="1"/>
          <p:nvPr/>
        </p:nvSpPr>
        <p:spPr>
          <a:xfrm>
            <a:off x="8734196" y="2913843"/>
            <a:ext cx="235722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Interdependence of college members.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We cannot really account for the extent to which commissioners are bound in their communication, thus mitigating the effect of ideology/sex etc.</a:t>
            </a:r>
            <a:endParaRPr lang="en-US" sz="1200" b="1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6" name="Grafik 11">
            <a:extLst>
              <a:ext uri="{FF2B5EF4-FFF2-40B4-BE49-F238E27FC236}">
                <a16:creationId xmlns:a16="http://schemas.microsoft.com/office/drawing/2014/main" id="{782BF0C8-43F3-1839-2740-43C878683E9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625" b="11933"/>
          <a:stretch/>
        </p:blipFill>
        <p:spPr>
          <a:xfrm>
            <a:off x="9167878" y="1831093"/>
            <a:ext cx="1268858" cy="1109510"/>
          </a:xfrm>
          <a:prstGeom prst="rect">
            <a:avLst/>
          </a:prstGeom>
        </p:spPr>
      </p:pic>
      <p:sp>
        <p:nvSpPr>
          <p:cNvPr id="12" name="Textfeld 74">
            <a:extLst>
              <a:ext uri="{FF2B5EF4-FFF2-40B4-BE49-F238E27FC236}">
                <a16:creationId xmlns:a16="http://schemas.microsoft.com/office/drawing/2014/main" id="{1B33B243-587F-53B4-9F7A-9649928A61A8}"/>
              </a:ext>
            </a:extLst>
          </p:cNvPr>
          <p:cNvSpPr txBox="1"/>
          <p:nvPr/>
        </p:nvSpPr>
        <p:spPr>
          <a:xfrm>
            <a:off x="756824" y="2913843"/>
            <a:ext cx="2357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Robustness.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Does our design really measure what we claim it does?</a:t>
            </a:r>
          </a:p>
        </p:txBody>
      </p:sp>
      <p:pic>
        <p:nvPicPr>
          <p:cNvPr id="13" name="Grafik 18">
            <a:extLst>
              <a:ext uri="{FF2B5EF4-FFF2-40B4-BE49-F238E27FC236}">
                <a16:creationId xmlns:a16="http://schemas.microsoft.com/office/drawing/2014/main" id="{7F7245BC-CA5C-58E6-FCDB-E0B3C31498B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4884" b="18745"/>
          <a:stretch/>
        </p:blipFill>
        <p:spPr>
          <a:xfrm>
            <a:off x="1353177" y="1898517"/>
            <a:ext cx="1164518" cy="889366"/>
          </a:xfrm>
          <a:prstGeom prst="rect">
            <a:avLst/>
          </a:prstGeom>
        </p:spPr>
      </p:pic>
      <p:pic>
        <p:nvPicPr>
          <p:cNvPr id="14" name="Grafik 6">
            <a:extLst>
              <a:ext uri="{FF2B5EF4-FFF2-40B4-BE49-F238E27FC236}">
                <a16:creationId xmlns:a16="http://schemas.microsoft.com/office/drawing/2014/main" id="{5DD98101-C110-3D29-4ADB-364AD6FC0CE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t="93" b="15050"/>
          <a:stretch/>
        </p:blipFill>
        <p:spPr>
          <a:xfrm>
            <a:off x="6364122" y="1898684"/>
            <a:ext cx="1068164" cy="906411"/>
          </a:xfrm>
          <a:prstGeom prst="rect">
            <a:avLst/>
          </a:prstGeom>
        </p:spPr>
      </p:pic>
      <p:sp>
        <p:nvSpPr>
          <p:cNvPr id="15" name="Textfeld 21">
            <a:extLst>
              <a:ext uri="{FF2B5EF4-FFF2-40B4-BE49-F238E27FC236}">
                <a16:creationId xmlns:a16="http://schemas.microsoft.com/office/drawing/2014/main" id="{79D9C69C-115A-8A06-E26F-A334FBF1063C}"/>
              </a:ext>
            </a:extLst>
          </p:cNvPr>
          <p:cNvSpPr txBox="1"/>
          <p:nvPr/>
        </p:nvSpPr>
        <p:spPr>
          <a:xfrm>
            <a:off x="6075072" y="2913843"/>
            <a:ext cx="2357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Data scarcity.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Compared to extant studies analyzing speeches, our corpus comprises relatively few speeches from only 8 years. This can lead to biased word embeddings.</a:t>
            </a:r>
          </a:p>
        </p:txBody>
      </p:sp>
      <p:pic>
        <p:nvPicPr>
          <p:cNvPr id="42" name="Grafik 6">
            <a:extLst>
              <a:ext uri="{FF2B5EF4-FFF2-40B4-BE49-F238E27FC236}">
                <a16:creationId xmlns:a16="http://schemas.microsoft.com/office/drawing/2014/main" id="{65A50A28-E2CB-80AC-5B59-A02FDA732D1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-1519" t="-4299" r="1519" b="3732"/>
          <a:stretch/>
        </p:blipFill>
        <p:spPr>
          <a:xfrm>
            <a:off x="3893694" y="1860626"/>
            <a:ext cx="1114471" cy="1120808"/>
          </a:xfrm>
          <a:prstGeom prst="rect">
            <a:avLst/>
          </a:prstGeom>
        </p:spPr>
      </p:pic>
      <p:sp>
        <p:nvSpPr>
          <p:cNvPr id="45" name="Textfeld 21">
            <a:extLst>
              <a:ext uri="{FF2B5EF4-FFF2-40B4-BE49-F238E27FC236}">
                <a16:creationId xmlns:a16="http://schemas.microsoft.com/office/drawing/2014/main" id="{225D37E3-1E8B-0C08-6361-EF2F98AAA3E3}"/>
              </a:ext>
            </a:extLst>
          </p:cNvPr>
          <p:cNvSpPr txBox="1"/>
          <p:nvPr/>
        </p:nvSpPr>
        <p:spPr>
          <a:xfrm>
            <a:off x="3415948" y="2913843"/>
            <a:ext cx="2357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Topic identification.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Unsupervised structure of STM lacks extensive validity checks. </a:t>
            </a:r>
          </a:p>
        </p:txBody>
      </p:sp>
      <p:cxnSp>
        <p:nvCxnSpPr>
          <p:cNvPr id="53" name="Gerade Verbindung mit Pfeil 33">
            <a:extLst>
              <a:ext uri="{FF2B5EF4-FFF2-40B4-BE49-F238E27FC236}">
                <a16:creationId xmlns:a16="http://schemas.microsoft.com/office/drawing/2014/main" id="{D12B29CA-2947-3C4E-981B-E516C0A4A6B6}"/>
              </a:ext>
            </a:extLst>
          </p:cNvPr>
          <p:cNvCxnSpPr>
            <a:cxnSpLocks/>
          </p:cNvCxnSpPr>
          <p:nvPr/>
        </p:nvCxnSpPr>
        <p:spPr>
          <a:xfrm rot="5400000">
            <a:off x="4282577" y="3998147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21">
            <a:extLst>
              <a:ext uri="{FF2B5EF4-FFF2-40B4-BE49-F238E27FC236}">
                <a16:creationId xmlns:a16="http://schemas.microsoft.com/office/drawing/2014/main" id="{B58DF83B-9160-B723-718C-5C4F148EAABD}"/>
              </a:ext>
            </a:extLst>
          </p:cNvPr>
          <p:cNvSpPr txBox="1"/>
          <p:nvPr/>
        </p:nvSpPr>
        <p:spPr>
          <a:xfrm>
            <a:off x="3415948" y="4283519"/>
            <a:ext cx="23572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We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validated the most frequent words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defining the topics that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showed very strong associations.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Also found that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LDA gets very similar results.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</p:txBody>
      </p:sp>
      <p:sp>
        <p:nvSpPr>
          <p:cNvPr id="58" name="Textfeld 21">
            <a:extLst>
              <a:ext uri="{FF2B5EF4-FFF2-40B4-BE49-F238E27FC236}">
                <a16:creationId xmlns:a16="http://schemas.microsoft.com/office/drawing/2014/main" id="{7B4F7C6F-8023-72C6-8B41-52CD948D1D1A}"/>
              </a:ext>
            </a:extLst>
          </p:cNvPr>
          <p:cNvSpPr txBox="1"/>
          <p:nvPr/>
        </p:nvSpPr>
        <p:spPr>
          <a:xfrm>
            <a:off x="3415948" y="5368501"/>
            <a:ext cx="2357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Chang et al. 2009 confirmed that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human validation is  not worse than quantitative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measures</a:t>
            </a:r>
          </a:p>
        </p:txBody>
      </p:sp>
      <p:cxnSp>
        <p:nvCxnSpPr>
          <p:cNvPr id="61" name="Gerade Verbindung mit Pfeil 33">
            <a:extLst>
              <a:ext uri="{FF2B5EF4-FFF2-40B4-BE49-F238E27FC236}">
                <a16:creationId xmlns:a16="http://schemas.microsoft.com/office/drawing/2014/main" id="{4AEEC3F0-E98E-E117-A67C-5716B1454422}"/>
              </a:ext>
            </a:extLst>
          </p:cNvPr>
          <p:cNvCxnSpPr>
            <a:cxnSpLocks/>
          </p:cNvCxnSpPr>
          <p:nvPr/>
        </p:nvCxnSpPr>
        <p:spPr>
          <a:xfrm rot="5400000">
            <a:off x="1623453" y="3819040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feld 21">
            <a:extLst>
              <a:ext uri="{FF2B5EF4-FFF2-40B4-BE49-F238E27FC236}">
                <a16:creationId xmlns:a16="http://schemas.microsoft.com/office/drawing/2014/main" id="{333E3F3B-F86A-79D0-E294-AA7CAA412C19}"/>
              </a:ext>
            </a:extLst>
          </p:cNvPr>
          <p:cNvSpPr txBox="1"/>
          <p:nvPr/>
        </p:nvSpPr>
        <p:spPr>
          <a:xfrm>
            <a:off x="756824" y="4135944"/>
            <a:ext cx="2357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Building on the design of Gennaro et al. 2021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who did extensive robustness checking.</a:t>
            </a:r>
          </a:p>
        </p:txBody>
      </p:sp>
      <p:sp>
        <p:nvSpPr>
          <p:cNvPr id="1024" name="Textfeld 21">
            <a:extLst>
              <a:ext uri="{FF2B5EF4-FFF2-40B4-BE49-F238E27FC236}">
                <a16:creationId xmlns:a16="http://schemas.microsoft.com/office/drawing/2014/main" id="{B1DF56FB-F290-B416-024F-631407EB34AD}"/>
              </a:ext>
            </a:extLst>
          </p:cNvPr>
          <p:cNvSpPr txBox="1"/>
          <p:nvPr/>
        </p:nvSpPr>
        <p:spPr>
          <a:xfrm>
            <a:off x="759969" y="4863330"/>
            <a:ext cx="23572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We extended existing validity checks by using Google’s pretrained word2vec embeddings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finding very similar results.</a:t>
            </a:r>
          </a:p>
        </p:txBody>
      </p:sp>
      <p:cxnSp>
        <p:nvCxnSpPr>
          <p:cNvPr id="1025" name="Gerade Verbindung mit Pfeil 33">
            <a:extLst>
              <a:ext uri="{FF2B5EF4-FFF2-40B4-BE49-F238E27FC236}">
                <a16:creationId xmlns:a16="http://schemas.microsoft.com/office/drawing/2014/main" id="{8AA42940-6071-5101-2796-BA0C01216024}"/>
              </a:ext>
            </a:extLst>
          </p:cNvPr>
          <p:cNvCxnSpPr>
            <a:cxnSpLocks/>
          </p:cNvCxnSpPr>
          <p:nvPr/>
        </p:nvCxnSpPr>
        <p:spPr>
          <a:xfrm rot="5400000">
            <a:off x="6938556" y="4505260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0" name="Textfeld 21">
            <a:extLst>
              <a:ext uri="{FF2B5EF4-FFF2-40B4-BE49-F238E27FC236}">
                <a16:creationId xmlns:a16="http://schemas.microsoft.com/office/drawing/2014/main" id="{A2EE5233-1BA8-D2BA-CD24-8BCC11154A90}"/>
              </a:ext>
            </a:extLst>
          </p:cNvPr>
          <p:cNvSpPr txBox="1"/>
          <p:nvPr/>
        </p:nvSpPr>
        <p:spPr>
          <a:xfrm>
            <a:off x="6071927" y="4885228"/>
            <a:ext cx="23572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Gennaro (2021) had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similar findings for the U.S. case using speech data since 1850s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. We expect our results to be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valid for more data as well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.</a:t>
            </a:r>
          </a:p>
        </p:txBody>
      </p:sp>
      <p:sp>
        <p:nvSpPr>
          <p:cNvPr id="1034" name="Textfeld 21">
            <a:extLst>
              <a:ext uri="{FF2B5EF4-FFF2-40B4-BE49-F238E27FC236}">
                <a16:creationId xmlns:a16="http://schemas.microsoft.com/office/drawing/2014/main" id="{E9729DA6-DDF1-76C3-B7D4-D789432C8EA2}"/>
              </a:ext>
            </a:extLst>
          </p:cNvPr>
          <p:cNvSpPr txBox="1"/>
          <p:nvPr/>
        </p:nvSpPr>
        <p:spPr>
          <a:xfrm>
            <a:off x="9024287" y="5456866"/>
            <a:ext cx="23572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Interesting research question for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future work!!!</a:t>
            </a:r>
          </a:p>
        </p:txBody>
      </p:sp>
      <p:sp>
        <p:nvSpPr>
          <p:cNvPr id="1035" name="Freeform 1005">
            <a:extLst>
              <a:ext uri="{FF2B5EF4-FFF2-40B4-BE49-F238E27FC236}">
                <a16:creationId xmlns:a16="http://schemas.microsoft.com/office/drawing/2014/main" id="{E2DC0457-4F09-3467-093A-F91635BE1D2C}"/>
              </a:ext>
            </a:extLst>
          </p:cNvPr>
          <p:cNvSpPr>
            <a:spLocks noChangeAspect="1"/>
          </p:cNvSpPr>
          <p:nvPr/>
        </p:nvSpPr>
        <p:spPr bwMode="auto">
          <a:xfrm>
            <a:off x="8822611" y="4645062"/>
            <a:ext cx="142997" cy="469067"/>
          </a:xfrm>
          <a:custGeom>
            <a:avLst/>
            <a:gdLst>
              <a:gd name="T0" fmla="*/ 292 w 294"/>
              <a:gd name="T1" fmla="*/ 157 h 544"/>
              <a:gd name="T2" fmla="*/ 116 w 294"/>
              <a:gd name="T3" fmla="*/ 535 h 544"/>
              <a:gd name="T4" fmla="*/ 102 w 294"/>
              <a:gd name="T5" fmla="*/ 544 h 544"/>
              <a:gd name="T6" fmla="*/ 97 w 294"/>
              <a:gd name="T7" fmla="*/ 543 h 544"/>
              <a:gd name="T8" fmla="*/ 88 w 294"/>
              <a:gd name="T9" fmla="*/ 527 h 544"/>
              <a:gd name="T10" fmla="*/ 152 w 294"/>
              <a:gd name="T11" fmla="*/ 263 h 544"/>
              <a:gd name="T12" fmla="*/ 19 w 294"/>
              <a:gd name="T13" fmla="*/ 296 h 544"/>
              <a:gd name="T14" fmla="*/ 15 w 294"/>
              <a:gd name="T15" fmla="*/ 296 h 544"/>
              <a:gd name="T16" fmla="*/ 5 w 294"/>
              <a:gd name="T17" fmla="*/ 293 h 544"/>
              <a:gd name="T18" fmla="*/ 1 w 294"/>
              <a:gd name="T19" fmla="*/ 280 h 544"/>
              <a:gd name="T20" fmla="*/ 67 w 294"/>
              <a:gd name="T21" fmla="*/ 10 h 544"/>
              <a:gd name="T22" fmla="*/ 81 w 294"/>
              <a:gd name="T23" fmla="*/ 0 h 544"/>
              <a:gd name="T24" fmla="*/ 188 w 294"/>
              <a:gd name="T25" fmla="*/ 0 h 544"/>
              <a:gd name="T26" fmla="*/ 203 w 294"/>
              <a:gd name="T27" fmla="*/ 14 h 544"/>
              <a:gd name="T28" fmla="*/ 201 w 294"/>
              <a:gd name="T29" fmla="*/ 19 h 544"/>
              <a:gd name="T30" fmla="*/ 145 w 294"/>
              <a:gd name="T31" fmla="*/ 171 h 544"/>
              <a:gd name="T32" fmla="*/ 275 w 294"/>
              <a:gd name="T33" fmla="*/ 139 h 544"/>
              <a:gd name="T34" fmla="*/ 279 w 294"/>
              <a:gd name="T35" fmla="*/ 138 h 544"/>
              <a:gd name="T36" fmla="*/ 290 w 294"/>
              <a:gd name="T37" fmla="*/ 143 h 544"/>
              <a:gd name="T38" fmla="*/ 292 w 294"/>
              <a:gd name="T39" fmla="*/ 157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94" h="544">
                <a:moveTo>
                  <a:pt x="292" y="157"/>
                </a:moveTo>
                <a:cubicBezTo>
                  <a:pt x="116" y="535"/>
                  <a:pt x="116" y="535"/>
                  <a:pt x="116" y="535"/>
                </a:cubicBezTo>
                <a:cubicBezTo>
                  <a:pt x="113" y="540"/>
                  <a:pt x="108" y="544"/>
                  <a:pt x="102" y="544"/>
                </a:cubicBezTo>
                <a:cubicBezTo>
                  <a:pt x="101" y="544"/>
                  <a:pt x="99" y="543"/>
                  <a:pt x="97" y="543"/>
                </a:cubicBezTo>
                <a:cubicBezTo>
                  <a:pt x="90" y="541"/>
                  <a:pt x="86" y="534"/>
                  <a:pt x="88" y="527"/>
                </a:cubicBezTo>
                <a:cubicBezTo>
                  <a:pt x="152" y="263"/>
                  <a:pt x="152" y="263"/>
                  <a:pt x="152" y="263"/>
                </a:cubicBezTo>
                <a:cubicBezTo>
                  <a:pt x="19" y="296"/>
                  <a:pt x="19" y="296"/>
                  <a:pt x="19" y="296"/>
                </a:cubicBezTo>
                <a:cubicBezTo>
                  <a:pt x="18" y="296"/>
                  <a:pt x="17" y="296"/>
                  <a:pt x="15" y="296"/>
                </a:cubicBezTo>
                <a:cubicBezTo>
                  <a:pt x="12" y="296"/>
                  <a:pt x="8" y="295"/>
                  <a:pt x="5" y="293"/>
                </a:cubicBezTo>
                <a:cubicBezTo>
                  <a:pt x="1" y="289"/>
                  <a:pt x="0" y="284"/>
                  <a:pt x="1" y="280"/>
                </a:cubicBezTo>
                <a:cubicBezTo>
                  <a:pt x="67" y="10"/>
                  <a:pt x="67" y="10"/>
                  <a:pt x="67" y="10"/>
                </a:cubicBezTo>
                <a:cubicBezTo>
                  <a:pt x="68" y="4"/>
                  <a:pt x="74" y="0"/>
                  <a:pt x="81" y="0"/>
                </a:cubicBezTo>
                <a:cubicBezTo>
                  <a:pt x="188" y="0"/>
                  <a:pt x="188" y="0"/>
                  <a:pt x="188" y="0"/>
                </a:cubicBezTo>
                <a:cubicBezTo>
                  <a:pt x="196" y="0"/>
                  <a:pt x="203" y="6"/>
                  <a:pt x="203" y="14"/>
                </a:cubicBezTo>
                <a:cubicBezTo>
                  <a:pt x="203" y="15"/>
                  <a:pt x="202" y="17"/>
                  <a:pt x="201" y="19"/>
                </a:cubicBezTo>
                <a:cubicBezTo>
                  <a:pt x="145" y="171"/>
                  <a:pt x="145" y="171"/>
                  <a:pt x="145" y="171"/>
                </a:cubicBezTo>
                <a:cubicBezTo>
                  <a:pt x="275" y="139"/>
                  <a:pt x="275" y="139"/>
                  <a:pt x="275" y="139"/>
                </a:cubicBezTo>
                <a:cubicBezTo>
                  <a:pt x="276" y="138"/>
                  <a:pt x="277" y="138"/>
                  <a:pt x="279" y="138"/>
                </a:cubicBezTo>
                <a:cubicBezTo>
                  <a:pt x="283" y="138"/>
                  <a:pt x="287" y="140"/>
                  <a:pt x="290" y="143"/>
                </a:cubicBezTo>
                <a:cubicBezTo>
                  <a:pt x="293" y="147"/>
                  <a:pt x="294" y="152"/>
                  <a:pt x="292" y="157"/>
                </a:cubicBezTo>
                <a:close/>
              </a:path>
            </a:pathLst>
          </a:custGeom>
          <a:solidFill>
            <a:srgbClr val="BA0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6" name="Textfeld 21">
            <a:extLst>
              <a:ext uri="{FF2B5EF4-FFF2-40B4-BE49-F238E27FC236}">
                <a16:creationId xmlns:a16="http://schemas.microsoft.com/office/drawing/2014/main" id="{8A7EA101-DA4D-4FC2-84FD-2F2435FB138A}"/>
              </a:ext>
            </a:extLst>
          </p:cNvPr>
          <p:cNvSpPr txBox="1"/>
          <p:nvPr/>
        </p:nvSpPr>
        <p:spPr>
          <a:xfrm>
            <a:off x="9015967" y="4413849"/>
            <a:ext cx="23572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Very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hard to quantify account for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. Might be 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specific for each government -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especially EU Commission. We might need to draw on  </a:t>
            </a:r>
            <a:r>
              <a:rPr lang="en-US" sz="1200" b="1" err="1">
                <a:latin typeface="Cambria" panose="02040503050406030204" pitchFamily="18" charset="0"/>
                <a:ea typeface="Cambria" panose="02040503050406030204" pitchFamily="18" charset="0"/>
              </a:rPr>
              <a:t>PolSci</a:t>
            </a:r>
            <a:r>
              <a:rPr lang="en-US" sz="1200" b="1">
                <a:latin typeface="Cambria" panose="02040503050406030204" pitchFamily="18" charset="0"/>
                <a:ea typeface="Cambria" panose="02040503050406030204" pitchFamily="18" charset="0"/>
              </a:rPr>
              <a:t> theory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for that.</a:t>
            </a:r>
          </a:p>
        </p:txBody>
      </p:sp>
      <p:cxnSp>
        <p:nvCxnSpPr>
          <p:cNvPr id="1037" name="Gerade Verbindung mit Pfeil 33">
            <a:extLst>
              <a:ext uri="{FF2B5EF4-FFF2-40B4-BE49-F238E27FC236}">
                <a16:creationId xmlns:a16="http://schemas.microsoft.com/office/drawing/2014/main" id="{B49275A9-2583-81F4-6203-7D6855D67547}"/>
              </a:ext>
            </a:extLst>
          </p:cNvPr>
          <p:cNvCxnSpPr>
            <a:cxnSpLocks/>
          </p:cNvCxnSpPr>
          <p:nvPr/>
        </p:nvCxnSpPr>
        <p:spPr>
          <a:xfrm>
            <a:off x="8740883" y="5700017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38328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20AC1-C547-BB37-DB48-BBB85B20D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ferences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2B67DD-F7CC-14EC-A446-A0D00085F1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729" y="1646726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b="0" i="0" err="1">
                <a:solidFill>
                  <a:srgbClr val="222222"/>
                </a:solidFill>
                <a:effectLst/>
              </a:rPr>
              <a:t>Blom</a:t>
            </a:r>
            <a:r>
              <a:rPr lang="en-US" sz="1600" b="0" i="0">
                <a:solidFill>
                  <a:srgbClr val="222222"/>
                </a:solidFill>
                <a:effectLst/>
              </a:rPr>
              <a:t>-Hansen, J., &amp; Finke, D. (2020). Reputation and organizational politics: Inside the EU Commission. </a:t>
            </a:r>
            <a:r>
              <a:rPr lang="en-US" sz="1600" b="0" i="1">
                <a:solidFill>
                  <a:srgbClr val="222222"/>
                </a:solidFill>
                <a:effectLst/>
              </a:rPr>
              <a:t>The Journal of Politics</a:t>
            </a:r>
            <a:r>
              <a:rPr lang="en-US" sz="1600" b="0" i="0">
                <a:solidFill>
                  <a:srgbClr val="222222"/>
                </a:solidFill>
                <a:effectLst/>
              </a:rPr>
              <a:t>, </a:t>
            </a:r>
            <a:r>
              <a:rPr lang="en-US" sz="1600" b="0" i="1">
                <a:solidFill>
                  <a:srgbClr val="222222"/>
                </a:solidFill>
                <a:effectLst/>
              </a:rPr>
              <a:t>82</a:t>
            </a:r>
            <a:r>
              <a:rPr lang="en-US" sz="1600" b="0" i="0">
                <a:solidFill>
                  <a:srgbClr val="222222"/>
                </a:solidFill>
                <a:effectLst/>
              </a:rPr>
              <a:t>(1), 135-148.</a:t>
            </a:r>
          </a:p>
          <a:p>
            <a:pPr marL="0" indent="0">
              <a:buNone/>
            </a:pPr>
            <a:r>
              <a:rPr lang="en-US" sz="1600" b="0" i="0">
                <a:solidFill>
                  <a:srgbClr val="222222"/>
                </a:solidFill>
                <a:effectLst/>
              </a:rPr>
              <a:t>Gennaro, G., &amp; Ash, E. (2022). Emotion and reason in political language. The Economic Journal, 132(643), 1037-1059.</a:t>
            </a:r>
          </a:p>
          <a:p>
            <a:pPr marL="0" indent="0">
              <a:buNone/>
            </a:pPr>
            <a:r>
              <a:rPr lang="en-US" sz="1600" b="0" i="0">
                <a:solidFill>
                  <a:srgbClr val="222222"/>
                </a:solidFill>
                <a:effectLst/>
              </a:rPr>
              <a:t>Bakker, R., De Vries, C., Edwards, E., </a:t>
            </a:r>
            <a:r>
              <a:rPr lang="en-US" sz="1600" b="0" i="0" err="1">
                <a:solidFill>
                  <a:srgbClr val="222222"/>
                </a:solidFill>
                <a:effectLst/>
              </a:rPr>
              <a:t>Hooghe</a:t>
            </a:r>
            <a:r>
              <a:rPr lang="en-US" sz="1600" b="0" i="0">
                <a:solidFill>
                  <a:srgbClr val="222222"/>
                </a:solidFill>
                <a:effectLst/>
              </a:rPr>
              <a:t>, L., Jolly, S., Marks, G., ... &amp; </a:t>
            </a:r>
            <a:r>
              <a:rPr lang="en-US" sz="1600" b="0" i="0" err="1">
                <a:solidFill>
                  <a:srgbClr val="222222"/>
                </a:solidFill>
                <a:effectLst/>
              </a:rPr>
              <a:t>Vachudova</a:t>
            </a:r>
            <a:r>
              <a:rPr lang="en-US" sz="1600" b="0" i="0">
                <a:solidFill>
                  <a:srgbClr val="222222"/>
                </a:solidFill>
                <a:effectLst/>
              </a:rPr>
              <a:t>, M. A. (2015). Measuring party positions in Europe: The Chapel Hill expert survey trend file, 1999–2010. Party Politics, 21(1), 143-152.</a:t>
            </a:r>
          </a:p>
          <a:p>
            <a:pPr marL="0" indent="0">
              <a:buNone/>
            </a:pPr>
            <a:r>
              <a:rPr lang="en-US" sz="1600" b="0" i="0">
                <a:solidFill>
                  <a:srgbClr val="222222"/>
                </a:solidFill>
                <a:effectLst/>
              </a:rPr>
              <a:t>Pennebaker, J. W., Boyd, R. L., Jordan, K., &amp; Blackburn, K. (2015). The development and psychometric properties of LIWC2015.</a:t>
            </a:r>
          </a:p>
          <a:p>
            <a:pPr marL="0" indent="0">
              <a:buNone/>
            </a:pPr>
            <a:r>
              <a:rPr lang="en-US" sz="1600" b="0" i="0">
                <a:solidFill>
                  <a:srgbClr val="222222"/>
                </a:solidFill>
                <a:effectLst/>
              </a:rPr>
              <a:t>Chang, J., Gerrish, S., Wang, C., Boyd-Graber, J., &amp; </a:t>
            </a:r>
            <a:r>
              <a:rPr lang="en-US" sz="1600" b="0" i="0" err="1">
                <a:solidFill>
                  <a:srgbClr val="222222"/>
                </a:solidFill>
                <a:effectLst/>
              </a:rPr>
              <a:t>Blei</a:t>
            </a:r>
            <a:r>
              <a:rPr lang="en-US" sz="1600" b="0" i="0">
                <a:solidFill>
                  <a:srgbClr val="222222"/>
                </a:solidFill>
                <a:effectLst/>
              </a:rPr>
              <a:t>, D. (2009). Reading tea leaves: How humans interpret topic models. Advances in neural information processing systems, 22.</a:t>
            </a:r>
          </a:p>
          <a:p>
            <a:pPr marL="0" indent="0">
              <a:buNone/>
            </a:pPr>
            <a:endParaRPr lang="en-DE" sz="16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C15AE1-C6E9-140C-2452-B3C86B784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782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</TotalTime>
  <Words>2179</Words>
  <Application>Microsoft Office PowerPoint</Application>
  <PresentationFormat>Widescreen</PresentationFormat>
  <Paragraphs>276</Paragraphs>
  <Slides>2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alibri</vt:lpstr>
      <vt:lpstr>Cambria</vt:lpstr>
      <vt:lpstr>Cambria Math</vt:lpstr>
      <vt:lpstr>1_Office Theme</vt:lpstr>
      <vt:lpstr>2_Office Theme</vt:lpstr>
      <vt:lpstr>Emotion and Rationality in EU Communication</vt:lpstr>
      <vt:lpstr>Investigating the use of reason and emotion in communicating politics of the EU Commission</vt:lpstr>
      <vt:lpstr>Building document embeddings from word representations in vector space for EU speeches</vt:lpstr>
      <vt:lpstr>RQ1 – How does emotion in language vary across time and events?</vt:lpstr>
      <vt:lpstr>RQ2 – How does emotion in language vary across political topics?</vt:lpstr>
      <vt:lpstr>RQ2 – How does language vary across political  topics?</vt:lpstr>
      <vt:lpstr>RQ3 – How does emotion and reason vary by gender and political ideology of commissioners?</vt:lpstr>
      <vt:lpstr>There is no free lunch – four limitations of our research design we identified and mitigated</vt:lpstr>
      <vt:lpstr>References</vt:lpstr>
      <vt:lpstr>Appendix</vt:lpstr>
      <vt:lpstr>Linguistic Inquiry and Word Count Word Lists </vt:lpstr>
      <vt:lpstr>Affect and Cognition Over Time</vt:lpstr>
      <vt:lpstr>Affect and Cognition in 2021</vt:lpstr>
      <vt:lpstr>Cognition across gender</vt:lpstr>
      <vt:lpstr>PowerPoint Presentation</vt:lpstr>
      <vt:lpstr>RQ1 – How does emotion in language vary across time and events?</vt:lpstr>
      <vt:lpstr>RQ1 – How does emotion in language vary across time and events?</vt:lpstr>
      <vt:lpstr>RQ1 – How does emotion in language vary across time and events?</vt:lpstr>
      <vt:lpstr>RQ1 – How does emotion in language vary across time and events?</vt:lpstr>
      <vt:lpstr>RQ1 – How does emotion in language vary across time and events?</vt:lpstr>
      <vt:lpstr>RQ2 – How does emotion in language vary across political topics?</vt:lpstr>
      <vt:lpstr>RQ3 – How does emotion and reason vary by gender and political ideology of commissioner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dymodels</dc:title>
  <dc:creator>Benedikt Ströbl</dc:creator>
  <cp:lastModifiedBy>Ma Adelle Gia Arbo</cp:lastModifiedBy>
  <cp:revision>3</cp:revision>
  <dcterms:created xsi:type="dcterms:W3CDTF">2021-10-27T10:29:36Z</dcterms:created>
  <dcterms:modified xsi:type="dcterms:W3CDTF">2022-12-01T09:53:12Z</dcterms:modified>
</cp:coreProperties>
</file>